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726" r:id="rId4"/>
    <p:sldMasterId id="2147483731" r:id="rId5"/>
    <p:sldMasterId id="2147483743" r:id="rId6"/>
    <p:sldMasterId id="2147483794" r:id="rId7"/>
    <p:sldMasterId id="2147483851" r:id="rId8"/>
    <p:sldMasterId id="2147483864" r:id="rId9"/>
    <p:sldMasterId id="2147483878" r:id="rId10"/>
  </p:sldMasterIdLst>
  <p:notesMasterIdLst>
    <p:notesMasterId r:id="rId30"/>
  </p:notesMasterIdLst>
  <p:handoutMasterIdLst>
    <p:handoutMasterId r:id="rId31"/>
  </p:handoutMasterIdLst>
  <p:sldIdLst>
    <p:sldId id="1107" r:id="rId11"/>
    <p:sldId id="2089" r:id="rId12"/>
    <p:sldId id="257" r:id="rId13"/>
    <p:sldId id="2088" r:id="rId14"/>
    <p:sldId id="2094" r:id="rId15"/>
    <p:sldId id="259" r:id="rId16"/>
    <p:sldId id="2091" r:id="rId17"/>
    <p:sldId id="2090" r:id="rId18"/>
    <p:sldId id="258" r:id="rId19"/>
    <p:sldId id="256" r:id="rId20"/>
    <p:sldId id="1392" r:id="rId21"/>
    <p:sldId id="1375" r:id="rId22"/>
    <p:sldId id="1376" r:id="rId23"/>
    <p:sldId id="1378" r:id="rId24"/>
    <p:sldId id="1383" r:id="rId25"/>
    <p:sldId id="1379" r:id="rId26"/>
    <p:sldId id="1393" r:id="rId27"/>
    <p:sldId id="1133" r:id="rId28"/>
    <p:sldId id="2095" r:id="rId29"/>
  </p:sldIdLst>
  <p:sldSz cx="9144000" cy="5143500" type="screen16x9"/>
  <p:notesSz cx="7023100" cy="9309100"/>
  <p:defaultTextStyle>
    <a:defPPr>
      <a:defRPr lang="de-CH"/>
    </a:defPPr>
    <a:lvl1pPr algn="l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1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1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4AF4D07-927A-D065-B064-68E4288CA9B0}" name="Osuna Carlos" initials="OC" userId="S::carlos.osuna@meteoswiss.ch::8b5f977f-a44c-42dc-958c-d912b29a2fb0" providerId="AD"/>
  <p188:author id="{43830CB3-6A46-6DE0-FD13-79D1585493C9}" name="Kanesan Christian" initials="KC" userId="S::christian.kanesan@meteoswiss.ch::b6723c65-2f59-4961-89b2-dd71b66150c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urrer Bettina" initials="dub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B1DB"/>
    <a:srgbClr val="08CDE8"/>
    <a:srgbClr val="FF0000"/>
    <a:srgbClr val="1160D4"/>
    <a:srgbClr val="640000"/>
    <a:srgbClr val="60B4B2"/>
    <a:srgbClr val="CDCDCD"/>
    <a:srgbClr val="F0494A"/>
    <a:srgbClr val="F3BE91"/>
    <a:srgbClr val="88B0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542" autoAdjust="0"/>
    <p:restoredTop sz="96327" autoAdjust="0"/>
  </p:normalViewPr>
  <p:slideViewPr>
    <p:cSldViewPr snapToGrid="0" showGuides="1">
      <p:cViewPr varScale="1">
        <p:scale>
          <a:sx n="157" d="100"/>
          <a:sy n="157" d="100"/>
        </p:scale>
        <p:origin x="184" y="192"/>
      </p:cViewPr>
      <p:guideLst>
        <p:guide orient="horz" pos="2160"/>
        <p:guide pos="2880"/>
        <p:guide orient="horz" pos="161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78" d="100"/>
          <a:sy n="78" d="100"/>
        </p:scale>
        <p:origin x="-3318" y="-108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21" Type="http://schemas.openxmlformats.org/officeDocument/2006/relationships/slide" Target="slides/slide11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commentAuthors" Target="commentAuthors.xml"/><Relationship Id="rId37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3344" cy="4654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9758" y="0"/>
            <a:ext cx="3043344" cy="4654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43645"/>
            <a:ext cx="3043344" cy="4654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9758" y="8843645"/>
            <a:ext cx="3043344" cy="4654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" pitchFamily="18" charset="0"/>
              </a:defRPr>
            </a:lvl1pPr>
          </a:lstStyle>
          <a:p>
            <a:pPr>
              <a:defRPr/>
            </a:pPr>
            <a:fld id="{5539B3AE-4F5B-4C8A-901D-39FC07883CC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380452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3344" cy="4654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" pitchFamily="18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9758" y="0"/>
            <a:ext cx="3043344" cy="4654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" pitchFamily="18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11163" y="698500"/>
            <a:ext cx="6200775" cy="3489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6415" y="4421824"/>
            <a:ext cx="5150273" cy="4189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/>
              <a:t>Mastertext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43645"/>
            <a:ext cx="3043344" cy="4654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" pitchFamily="18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9758" y="8843645"/>
            <a:ext cx="3043344" cy="4654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5" rIns="91430" bIns="45715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" pitchFamily="18" charset="0"/>
              </a:defRPr>
            </a:lvl1pPr>
          </a:lstStyle>
          <a:p>
            <a:pPr>
              <a:defRPr/>
            </a:pPr>
            <a:fld id="{A1435824-F435-405F-82FC-C5B86CD5CBFE}" type="slidenum">
              <a:rPr lang="de-CH"/>
              <a:pPr>
                <a:defRPr/>
              </a:pPr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05510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778E25-6567-4052-99BF-F889583E70B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5954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1435824-F435-405F-82FC-C5B86CD5CBFE}" type="slidenum">
              <a:rPr lang="de-CH" smtClean="0"/>
              <a:pPr>
                <a:defRPr/>
              </a:pPr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28673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eg"/><Relationship Id="rId4" Type="http://schemas.openxmlformats.org/officeDocument/2006/relationships/image" Target="../media/image4.w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0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jpeg"/><Relationship Id="rId4" Type="http://schemas.openxmlformats.org/officeDocument/2006/relationships/image" Target="../media/image4.w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3.jpeg"/><Relationship Id="rId4" Type="http://schemas.openxmlformats.org/officeDocument/2006/relationships/image" Target="../media/image17.png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 49"/>
          <p:cNvPicPr>
            <a:picLocks noChangeAspect="1"/>
          </p:cNvPicPr>
          <p:nvPr userDrawn="1"/>
        </p:nvPicPr>
        <p:blipFill rotWithShape="1"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-185" b="20458"/>
          <a:stretch/>
        </p:blipFill>
        <p:spPr>
          <a:xfrm>
            <a:off x="66261" y="1863884"/>
            <a:ext cx="9011477" cy="3237017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88981" y="3604312"/>
            <a:ext cx="6858000" cy="64800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marL="342900" indent="-342900">
              <a:buNone/>
              <a:defRPr kumimoji="0" lang="de-DE" sz="2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</a:lstStyle>
          <a:p>
            <a:pPr marL="0" marR="0" lvl="0" indent="0" defTabSz="68580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tabLst/>
            </a:pPr>
            <a:r>
              <a:rPr lang="en-GB" noProof="0" dirty="0"/>
              <a:t>Subtitle Arial, 22 poin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147051" y="1843923"/>
            <a:ext cx="7617600" cy="1638000"/>
          </a:xfrm>
          <a:prstGeom prst="rect">
            <a:avLst/>
          </a:prstGeom>
        </p:spPr>
        <p:txBody>
          <a:bodyPr/>
          <a:lstStyle>
            <a:lvl1pPr>
              <a:defRPr kumimoji="0" lang="de-DE" sz="5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Presentation Title Arial, 52 point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924938" y="362579"/>
            <a:ext cx="2004962" cy="774471"/>
            <a:chOff x="924938" y="362579"/>
            <a:chExt cx="2004962" cy="774471"/>
          </a:xfrm>
        </p:grpSpPr>
        <p:pic>
          <p:nvPicPr>
            <p:cNvPr id="13" name="Picture 41" descr="Bund_e_100%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6000" y="375050"/>
              <a:ext cx="1993900" cy="76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44" descr="Wappe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4938" y="362579"/>
              <a:ext cx="292100" cy="33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" name="Picture 44" descr="logo">
            <a:extLst>
              <a:ext uri="{FF2B5EF4-FFF2-40B4-BE49-F238E27FC236}">
                <a16:creationId xmlns:a16="http://schemas.microsoft.com/office/drawing/2014/main" id="{A81A7005-2854-814D-B0F0-A27C7B21C5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0675" y="375050"/>
            <a:ext cx="1798638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60331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31806" y="1402556"/>
            <a:ext cx="4062413" cy="3238500"/>
          </a:xfrm>
        </p:spPr>
        <p:txBody>
          <a:bodyPr/>
          <a:lstStyle>
            <a:lvl1pPr>
              <a:defRPr sz="2772"/>
            </a:lvl1pPr>
            <a:lvl2pPr>
              <a:defRPr sz="2397"/>
            </a:lvl2pPr>
            <a:lvl3pPr>
              <a:defRPr sz="2023"/>
            </a:lvl3pPr>
            <a:lvl4pPr>
              <a:defRPr sz="1798"/>
            </a:lvl4pPr>
            <a:lvl5pPr>
              <a:defRPr sz="1798"/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1402556"/>
            <a:ext cx="4062412" cy="3238500"/>
          </a:xfrm>
        </p:spPr>
        <p:txBody>
          <a:bodyPr/>
          <a:lstStyle>
            <a:lvl1pPr>
              <a:defRPr sz="2772"/>
            </a:lvl1pPr>
            <a:lvl2pPr>
              <a:defRPr sz="2397"/>
            </a:lvl2pPr>
            <a:lvl3pPr>
              <a:defRPr sz="2023"/>
            </a:lvl3pPr>
            <a:lvl4pPr>
              <a:defRPr sz="1798"/>
            </a:lvl4pPr>
            <a:lvl5pPr>
              <a:defRPr sz="1798"/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84159819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151338"/>
            <a:ext cx="4040188" cy="479822"/>
          </a:xfrm>
        </p:spPr>
        <p:txBody>
          <a:bodyPr anchor="b"/>
          <a:lstStyle>
            <a:lvl1pPr marL="0" indent="0">
              <a:buNone/>
              <a:defRPr sz="2397" b="1"/>
            </a:lvl1pPr>
            <a:lvl2pPr marL="457009" indent="0">
              <a:buNone/>
              <a:defRPr sz="2023" b="1"/>
            </a:lvl2pPr>
            <a:lvl3pPr marL="914018" indent="0">
              <a:buNone/>
              <a:defRPr sz="1798" b="1"/>
            </a:lvl3pPr>
            <a:lvl4pPr marL="1371028" indent="0">
              <a:buNone/>
              <a:defRPr sz="1573" b="1"/>
            </a:lvl4pPr>
            <a:lvl5pPr marL="1828037" indent="0">
              <a:buNone/>
              <a:defRPr sz="1573" b="1"/>
            </a:lvl5pPr>
            <a:lvl6pPr marL="2285046" indent="0">
              <a:buNone/>
              <a:defRPr sz="1573" b="1"/>
            </a:lvl6pPr>
            <a:lvl7pPr marL="2742055" indent="0">
              <a:buNone/>
              <a:defRPr sz="1573" b="1"/>
            </a:lvl7pPr>
            <a:lvl8pPr marL="3199065" indent="0">
              <a:buNone/>
              <a:defRPr sz="1573" b="1"/>
            </a:lvl8pPr>
            <a:lvl9pPr marL="3656074" indent="0">
              <a:buNone/>
              <a:defRPr sz="1573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397"/>
            </a:lvl1pPr>
            <a:lvl2pPr>
              <a:defRPr sz="2023"/>
            </a:lvl2pPr>
            <a:lvl3pPr>
              <a:defRPr sz="1798"/>
            </a:lvl3pPr>
            <a:lvl4pPr>
              <a:defRPr sz="1573"/>
            </a:lvl4pPr>
            <a:lvl5pPr>
              <a:defRPr sz="1573"/>
            </a:lvl5pPr>
            <a:lvl6pPr>
              <a:defRPr sz="1573"/>
            </a:lvl6pPr>
            <a:lvl7pPr>
              <a:defRPr sz="1573"/>
            </a:lvl7pPr>
            <a:lvl8pPr>
              <a:defRPr sz="1573"/>
            </a:lvl8pPr>
            <a:lvl9pPr>
              <a:defRPr sz="1573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31" y="1151338"/>
            <a:ext cx="4041775" cy="479822"/>
          </a:xfrm>
        </p:spPr>
        <p:txBody>
          <a:bodyPr anchor="b"/>
          <a:lstStyle>
            <a:lvl1pPr marL="0" indent="0">
              <a:buNone/>
              <a:defRPr sz="2397" b="1"/>
            </a:lvl1pPr>
            <a:lvl2pPr marL="457009" indent="0">
              <a:buNone/>
              <a:defRPr sz="2023" b="1"/>
            </a:lvl2pPr>
            <a:lvl3pPr marL="914018" indent="0">
              <a:buNone/>
              <a:defRPr sz="1798" b="1"/>
            </a:lvl3pPr>
            <a:lvl4pPr marL="1371028" indent="0">
              <a:buNone/>
              <a:defRPr sz="1573" b="1"/>
            </a:lvl4pPr>
            <a:lvl5pPr marL="1828037" indent="0">
              <a:buNone/>
              <a:defRPr sz="1573" b="1"/>
            </a:lvl5pPr>
            <a:lvl6pPr marL="2285046" indent="0">
              <a:buNone/>
              <a:defRPr sz="1573" b="1"/>
            </a:lvl6pPr>
            <a:lvl7pPr marL="2742055" indent="0">
              <a:buNone/>
              <a:defRPr sz="1573" b="1"/>
            </a:lvl7pPr>
            <a:lvl8pPr marL="3199065" indent="0">
              <a:buNone/>
              <a:defRPr sz="1573" b="1"/>
            </a:lvl8pPr>
            <a:lvl9pPr marL="3656074" indent="0">
              <a:buNone/>
              <a:defRPr sz="1573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31" y="1631156"/>
            <a:ext cx="4041775" cy="2963466"/>
          </a:xfrm>
        </p:spPr>
        <p:txBody>
          <a:bodyPr/>
          <a:lstStyle>
            <a:lvl1pPr>
              <a:defRPr sz="2397"/>
            </a:lvl1pPr>
            <a:lvl2pPr>
              <a:defRPr sz="2023"/>
            </a:lvl2pPr>
            <a:lvl3pPr>
              <a:defRPr sz="1798"/>
            </a:lvl3pPr>
            <a:lvl4pPr>
              <a:defRPr sz="1573"/>
            </a:lvl4pPr>
            <a:lvl5pPr>
              <a:defRPr sz="1573"/>
            </a:lvl5pPr>
            <a:lvl6pPr>
              <a:defRPr sz="1573"/>
            </a:lvl6pPr>
            <a:lvl7pPr>
              <a:defRPr sz="1573"/>
            </a:lvl7pPr>
            <a:lvl8pPr>
              <a:defRPr sz="1573"/>
            </a:lvl8pPr>
            <a:lvl9pPr>
              <a:defRPr sz="1573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3795465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35741880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07084626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04793"/>
            <a:ext cx="3008313" cy="871538"/>
          </a:xfrm>
        </p:spPr>
        <p:txBody>
          <a:bodyPr/>
          <a:lstStyle>
            <a:lvl1pPr algn="l">
              <a:defRPr sz="2023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04795"/>
            <a:ext cx="5111750" cy="4389835"/>
          </a:xfrm>
        </p:spPr>
        <p:txBody>
          <a:bodyPr/>
          <a:lstStyle>
            <a:lvl1pPr>
              <a:defRPr sz="3222"/>
            </a:lvl1pPr>
            <a:lvl2pPr>
              <a:defRPr sz="2772"/>
            </a:lvl2pPr>
            <a:lvl3pPr>
              <a:defRPr sz="2397"/>
            </a:lvl3pPr>
            <a:lvl4pPr>
              <a:defRPr sz="2023"/>
            </a:lvl4pPr>
            <a:lvl5pPr>
              <a:defRPr sz="2023"/>
            </a:lvl5pPr>
            <a:lvl6pPr>
              <a:defRPr sz="2023"/>
            </a:lvl6pPr>
            <a:lvl7pPr>
              <a:defRPr sz="2023"/>
            </a:lvl7pPr>
            <a:lvl8pPr>
              <a:defRPr sz="2023"/>
            </a:lvl8pPr>
            <a:lvl9pPr>
              <a:defRPr sz="2023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1" y="1076328"/>
            <a:ext cx="3008313" cy="3518297"/>
          </a:xfrm>
        </p:spPr>
        <p:txBody>
          <a:bodyPr/>
          <a:lstStyle>
            <a:lvl1pPr marL="0" indent="0">
              <a:buNone/>
              <a:defRPr sz="1423"/>
            </a:lvl1pPr>
            <a:lvl2pPr marL="457009" indent="0">
              <a:buNone/>
              <a:defRPr sz="1199"/>
            </a:lvl2pPr>
            <a:lvl3pPr marL="914018" indent="0">
              <a:buNone/>
              <a:defRPr sz="974"/>
            </a:lvl3pPr>
            <a:lvl4pPr marL="1371028" indent="0">
              <a:buNone/>
              <a:defRPr sz="899"/>
            </a:lvl4pPr>
            <a:lvl5pPr marL="1828037" indent="0">
              <a:buNone/>
              <a:defRPr sz="899"/>
            </a:lvl5pPr>
            <a:lvl6pPr marL="2285046" indent="0">
              <a:buNone/>
              <a:defRPr sz="899"/>
            </a:lvl6pPr>
            <a:lvl7pPr marL="2742055" indent="0">
              <a:buNone/>
              <a:defRPr sz="899"/>
            </a:lvl7pPr>
            <a:lvl8pPr marL="3199065" indent="0">
              <a:buNone/>
              <a:defRPr sz="899"/>
            </a:lvl8pPr>
            <a:lvl9pPr marL="3656074" indent="0">
              <a:buNone/>
              <a:defRPr sz="899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0"/>
          </p:nvPr>
        </p:nvSpPr>
        <p:spPr>
          <a:xfrm>
            <a:off x="5880100" y="4772032"/>
            <a:ext cx="2895600" cy="1952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/>
              <a:t>GB FE 14  –  06/2013</a:t>
            </a:r>
          </a:p>
        </p:txBody>
      </p:sp>
    </p:spTree>
    <p:extLst>
      <p:ext uri="{BB962C8B-B14F-4D97-AF65-F5344CB8AC3E}">
        <p14:creationId xmlns:p14="http://schemas.microsoft.com/office/powerpoint/2010/main" val="90951109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7"/>
            <a:ext cx="5486400" cy="425054"/>
          </a:xfrm>
        </p:spPr>
        <p:txBody>
          <a:bodyPr/>
          <a:lstStyle>
            <a:lvl1pPr algn="l">
              <a:defRPr sz="2023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22"/>
            </a:lvl1pPr>
            <a:lvl2pPr marL="457009" indent="0">
              <a:buNone/>
              <a:defRPr sz="2772"/>
            </a:lvl2pPr>
            <a:lvl3pPr marL="914018" indent="0">
              <a:buNone/>
              <a:defRPr sz="2397"/>
            </a:lvl3pPr>
            <a:lvl4pPr marL="1371028" indent="0">
              <a:buNone/>
              <a:defRPr sz="2023"/>
            </a:lvl4pPr>
            <a:lvl5pPr marL="1828037" indent="0">
              <a:buNone/>
              <a:defRPr sz="2023"/>
            </a:lvl5pPr>
            <a:lvl6pPr marL="2285046" indent="0">
              <a:buNone/>
              <a:defRPr sz="2023"/>
            </a:lvl6pPr>
            <a:lvl7pPr marL="2742055" indent="0">
              <a:buNone/>
              <a:defRPr sz="2023"/>
            </a:lvl7pPr>
            <a:lvl8pPr marL="3199065" indent="0">
              <a:buNone/>
              <a:defRPr sz="2023"/>
            </a:lvl8pPr>
            <a:lvl9pPr marL="3656074" indent="0">
              <a:buNone/>
              <a:defRPr sz="2023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4025510"/>
            <a:ext cx="5486400" cy="603647"/>
          </a:xfrm>
        </p:spPr>
        <p:txBody>
          <a:bodyPr/>
          <a:lstStyle>
            <a:lvl1pPr marL="0" indent="0">
              <a:buNone/>
              <a:defRPr sz="1423"/>
            </a:lvl1pPr>
            <a:lvl2pPr marL="457009" indent="0">
              <a:buNone/>
              <a:defRPr sz="1199"/>
            </a:lvl2pPr>
            <a:lvl3pPr marL="914018" indent="0">
              <a:buNone/>
              <a:defRPr sz="974"/>
            </a:lvl3pPr>
            <a:lvl4pPr marL="1371028" indent="0">
              <a:buNone/>
              <a:defRPr sz="899"/>
            </a:lvl4pPr>
            <a:lvl5pPr marL="1828037" indent="0">
              <a:buNone/>
              <a:defRPr sz="899"/>
            </a:lvl5pPr>
            <a:lvl6pPr marL="2285046" indent="0">
              <a:buNone/>
              <a:defRPr sz="899"/>
            </a:lvl6pPr>
            <a:lvl7pPr marL="2742055" indent="0">
              <a:buNone/>
              <a:defRPr sz="899"/>
            </a:lvl7pPr>
            <a:lvl8pPr marL="3199065" indent="0">
              <a:buNone/>
              <a:defRPr sz="899"/>
            </a:lvl8pPr>
            <a:lvl9pPr marL="3656074" indent="0">
              <a:buNone/>
              <a:defRPr sz="899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7170664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0"/>
          </p:nvPr>
        </p:nvSpPr>
        <p:spPr>
          <a:xfrm>
            <a:off x="5880100" y="4772032"/>
            <a:ext cx="2895600" cy="1952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GB FE 14  –  06/2013</a:t>
            </a:r>
          </a:p>
        </p:txBody>
      </p:sp>
    </p:spTree>
    <p:extLst>
      <p:ext uri="{BB962C8B-B14F-4D97-AF65-F5344CB8AC3E}">
        <p14:creationId xmlns:p14="http://schemas.microsoft.com/office/powerpoint/2010/main" val="339083871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1" y="1597826"/>
            <a:ext cx="7772400" cy="1102519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009" indent="0" algn="ctr">
              <a:buNone/>
              <a:defRPr/>
            </a:lvl2pPr>
            <a:lvl3pPr marL="914018" indent="0" algn="ctr">
              <a:buNone/>
              <a:defRPr/>
            </a:lvl3pPr>
            <a:lvl4pPr marL="1371028" indent="0" algn="ctr">
              <a:buNone/>
              <a:defRPr/>
            </a:lvl4pPr>
            <a:lvl5pPr marL="1828037" indent="0" algn="ctr">
              <a:buNone/>
              <a:defRPr/>
            </a:lvl5pPr>
            <a:lvl6pPr marL="2285046" indent="0" algn="ctr">
              <a:buNone/>
              <a:defRPr/>
            </a:lvl6pPr>
            <a:lvl7pPr marL="2742055" indent="0" algn="ctr">
              <a:buNone/>
              <a:defRPr/>
            </a:lvl7pPr>
            <a:lvl8pPr marL="3199065" indent="0" algn="ctr">
              <a:buNone/>
              <a:defRPr/>
            </a:lvl8pPr>
            <a:lvl9pPr marL="3656074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1583130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21820877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3305182"/>
            <a:ext cx="7772400" cy="1021556"/>
          </a:xfrm>
        </p:spPr>
        <p:txBody>
          <a:bodyPr anchor="t"/>
          <a:lstStyle>
            <a:lvl1pPr algn="l">
              <a:defRPr sz="3971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23"/>
            </a:lvl1pPr>
            <a:lvl2pPr marL="457009" indent="0">
              <a:buNone/>
              <a:defRPr sz="1798"/>
            </a:lvl2pPr>
            <a:lvl3pPr marL="914018" indent="0">
              <a:buNone/>
              <a:defRPr sz="1573"/>
            </a:lvl3pPr>
            <a:lvl4pPr marL="1371028" indent="0">
              <a:buNone/>
              <a:defRPr sz="1423"/>
            </a:lvl4pPr>
            <a:lvl5pPr marL="1828037" indent="0">
              <a:buNone/>
              <a:defRPr sz="1423"/>
            </a:lvl5pPr>
            <a:lvl6pPr marL="2285046" indent="0">
              <a:buNone/>
              <a:defRPr sz="1423"/>
            </a:lvl6pPr>
            <a:lvl7pPr marL="2742055" indent="0">
              <a:buNone/>
              <a:defRPr sz="1423"/>
            </a:lvl7pPr>
            <a:lvl8pPr marL="3199065" indent="0">
              <a:buNone/>
              <a:defRPr sz="1423"/>
            </a:lvl8pPr>
            <a:lvl9pPr marL="3656074" indent="0">
              <a:buNone/>
              <a:defRPr sz="1423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529112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-6410"/>
            <a:ext cx="9162000" cy="5157000"/>
          </a:xfrm>
          <a:prstGeom prst="rect">
            <a:avLst/>
          </a:prstGeom>
          <a:solidFill>
            <a:srgbClr val="7D6E5F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100" b="0" i="0" u="none" strike="noStrike" kern="0" cap="none" spc="0" normalizeH="0" baseline="0" noProof="0" dirty="0">
              <a:ln>
                <a:noFill/>
              </a:ln>
              <a:solidFill>
                <a:srgbClr val="B4A89C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532413" y="1808163"/>
            <a:ext cx="6081933" cy="2133875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CH"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Statement Arial normal 18. </a:t>
            </a:r>
            <a:r>
              <a:rPr lang="en-GB" noProof="0" dirty="0" err="1"/>
              <a:t>Feugiamet</a:t>
            </a:r>
            <a:r>
              <a:rPr lang="en-GB" noProof="0" dirty="0"/>
              <a:t> ad </a:t>
            </a:r>
            <a:r>
              <a:rPr lang="en-GB" noProof="0" dirty="0" err="1"/>
              <a:t>delisl</a:t>
            </a:r>
            <a:r>
              <a:rPr lang="en-GB" noProof="0" dirty="0"/>
              <a:t> in </a:t>
            </a:r>
            <a:r>
              <a:rPr lang="en-GB" noProof="0" dirty="0" err="1"/>
              <a:t>hent</a:t>
            </a:r>
            <a:r>
              <a:rPr lang="en-GB" noProof="0" dirty="0"/>
              <a:t> ad </a:t>
            </a:r>
            <a:r>
              <a:rPr lang="en-GB" noProof="0" dirty="0" err="1"/>
              <a:t>estion</a:t>
            </a:r>
            <a:r>
              <a:rPr lang="en-GB" noProof="0" dirty="0"/>
              <a:t> </a:t>
            </a:r>
            <a:r>
              <a:rPr lang="en-GB" noProof="0" dirty="0" err="1"/>
              <a:t>hent</a:t>
            </a:r>
            <a:r>
              <a:rPr lang="en-GB" noProof="0" dirty="0"/>
              <a:t> prat </a:t>
            </a:r>
            <a:r>
              <a:rPr lang="en-GB" noProof="0" dirty="0" err="1"/>
              <a:t>lortincilit</a:t>
            </a:r>
            <a:r>
              <a:rPr lang="en-GB" noProof="0" dirty="0"/>
              <a:t> </a:t>
            </a:r>
            <a:r>
              <a:rPr lang="en-GB" noProof="0" dirty="0" err="1"/>
              <a:t>utem</a:t>
            </a:r>
            <a:r>
              <a:rPr lang="en-GB" noProof="0" dirty="0"/>
              <a:t> </a:t>
            </a:r>
            <a:r>
              <a:rPr lang="en-GB" noProof="0" dirty="0" err="1"/>
              <a:t>doloreet</a:t>
            </a:r>
            <a:r>
              <a:rPr lang="en-GB" noProof="0" dirty="0"/>
              <a:t> </a:t>
            </a:r>
            <a:r>
              <a:rPr lang="en-GB" noProof="0" dirty="0" err="1"/>
              <a:t>alisis</a:t>
            </a:r>
            <a:r>
              <a:rPr lang="en-GB" noProof="0" dirty="0"/>
              <a:t> </a:t>
            </a:r>
            <a:r>
              <a:rPr lang="en-GB" noProof="0" dirty="0" err="1"/>
              <a:t>auguerc</a:t>
            </a:r>
            <a:r>
              <a:rPr lang="en-GB" noProof="0" dirty="0"/>
              <a:t> </a:t>
            </a:r>
            <a:r>
              <a:rPr lang="en-GB" noProof="0" dirty="0" err="1"/>
              <a:t>iliquatum</a:t>
            </a:r>
            <a:r>
              <a:rPr lang="en-GB" noProof="0" dirty="0"/>
              <a:t> </a:t>
            </a:r>
            <a:r>
              <a:rPr lang="en-GB" noProof="0" dirty="0" err="1"/>
              <a:t>euipsuscilis</a:t>
            </a:r>
            <a:r>
              <a:rPr lang="en-GB" noProof="0" dirty="0"/>
              <a:t> </a:t>
            </a:r>
            <a:r>
              <a:rPr lang="en-GB" noProof="0" dirty="0" err="1"/>
              <a:t>augue</a:t>
            </a:r>
            <a:r>
              <a:rPr lang="en-GB" noProof="0" dirty="0"/>
              <a:t> do </a:t>
            </a:r>
            <a:r>
              <a:rPr lang="en-GB" noProof="0" dirty="0" err="1"/>
              <a:t>consequipis</a:t>
            </a:r>
            <a:r>
              <a:rPr lang="en-GB" noProof="0" dirty="0"/>
              <a:t> </a:t>
            </a:r>
            <a:r>
              <a:rPr lang="en-GB" noProof="0" dirty="0" err="1"/>
              <a:t>nulputpat</a:t>
            </a:r>
            <a:r>
              <a:rPr lang="en-GB" noProof="0" dirty="0"/>
              <a:t> </a:t>
            </a:r>
            <a:r>
              <a:rPr lang="en-GB" noProof="0" dirty="0" err="1"/>
              <a:t>lum</a:t>
            </a:r>
            <a:r>
              <a:rPr lang="en-GB" noProof="0" dirty="0"/>
              <a:t> </a:t>
            </a:r>
            <a:r>
              <a:rPr lang="en-GB" noProof="0" dirty="0" err="1"/>
              <a:t>dolobore</a:t>
            </a:r>
            <a:r>
              <a:rPr lang="en-GB" noProof="0" dirty="0"/>
              <a:t> </a:t>
            </a:r>
            <a:r>
              <a:rPr lang="en-GB" noProof="0" dirty="0" err="1"/>
              <a:t>diodolorem</a:t>
            </a:r>
            <a:r>
              <a:rPr lang="en-GB" noProof="0" dirty="0"/>
              <a:t> </a:t>
            </a:r>
            <a:r>
              <a:rPr lang="en-GB" noProof="0" dirty="0" err="1"/>
              <a:t>nullam</a:t>
            </a:r>
            <a:r>
              <a:rPr lang="en-GB" noProof="0" dirty="0"/>
              <a:t>, </a:t>
            </a:r>
            <a:r>
              <a:rPr lang="en-GB" noProof="0" dirty="0" err="1"/>
              <a:t>susting</a:t>
            </a:r>
            <a:r>
              <a:rPr lang="en-GB" noProof="0" dirty="0"/>
              <a:t> </a:t>
            </a:r>
            <a:r>
              <a:rPr lang="en-GB" noProof="0" dirty="0" err="1"/>
              <a:t>eumsan</a:t>
            </a:r>
            <a:r>
              <a:rPr lang="en-GB" noProof="0" dirty="0"/>
              <a:t> </a:t>
            </a:r>
            <a:r>
              <a:rPr lang="en-GB" noProof="0" dirty="0" err="1"/>
              <a:t>veliquismod</a:t>
            </a:r>
            <a:r>
              <a:rPr lang="en-GB" noProof="0" dirty="0"/>
              <a:t> </a:t>
            </a:r>
            <a:r>
              <a:rPr lang="en-GB" noProof="0" dirty="0" err="1"/>
              <a:t>mincin</a:t>
            </a:r>
            <a:r>
              <a:rPr lang="en-GB" noProof="0" dirty="0"/>
              <a:t> </a:t>
            </a:r>
            <a:r>
              <a:rPr lang="en-GB" noProof="0" dirty="0" err="1"/>
              <a:t>ulluptat</a:t>
            </a:r>
            <a:r>
              <a:rPr lang="en-GB" noProof="0" dirty="0"/>
              <a:t>. </a:t>
            </a:r>
            <a:r>
              <a:rPr lang="en-GB" noProof="0" dirty="0" err="1"/>
              <a:t>Nulla</a:t>
            </a:r>
            <a:r>
              <a:rPr lang="en-GB" noProof="0" dirty="0"/>
              <a:t> </a:t>
            </a:r>
            <a:r>
              <a:rPr lang="en-GB" noProof="0" dirty="0" err="1"/>
              <a:t>commy</a:t>
            </a:r>
            <a:r>
              <a:rPr lang="en-GB" noProof="0" dirty="0"/>
              <a:t> </a:t>
            </a:r>
            <a:r>
              <a:rPr lang="en-GB" noProof="0" dirty="0" err="1"/>
              <a:t>niam</a:t>
            </a:r>
            <a:r>
              <a:rPr lang="en-GB" noProof="0" dirty="0"/>
              <a:t>, </a:t>
            </a:r>
            <a:r>
              <a:rPr lang="en-GB" noProof="0" dirty="0" err="1"/>
              <a:t>quismodit</a:t>
            </a:r>
            <a:r>
              <a:rPr lang="en-GB" noProof="0" dirty="0"/>
              <a:t> </a:t>
            </a:r>
            <a:r>
              <a:rPr lang="en-GB" noProof="0" dirty="0" err="1"/>
              <a:t>irilit</a:t>
            </a:r>
            <a:r>
              <a:rPr lang="en-GB" noProof="0" dirty="0"/>
              <a:t> </a:t>
            </a:r>
            <a:r>
              <a:rPr lang="en-GB" noProof="0" dirty="0" err="1"/>
              <a:t>incinim</a:t>
            </a:r>
            <a:r>
              <a:rPr lang="en-GB" noProof="0" dirty="0"/>
              <a:t> </a:t>
            </a:r>
            <a:r>
              <a:rPr lang="en-GB" noProof="0" dirty="0" err="1"/>
              <a:t>velisi</a:t>
            </a:r>
            <a:r>
              <a:rPr lang="en-GB" noProof="0" dirty="0"/>
              <a:t> </a:t>
            </a:r>
            <a:r>
              <a:rPr lang="en-GB" noProof="0" dirty="0" err="1"/>
              <a:t>exero</a:t>
            </a:r>
            <a:r>
              <a:rPr lang="en-GB" noProof="0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8180131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31806" y="1402556"/>
            <a:ext cx="4062413" cy="3238500"/>
          </a:xfrm>
        </p:spPr>
        <p:txBody>
          <a:bodyPr/>
          <a:lstStyle>
            <a:lvl1pPr>
              <a:defRPr sz="2772"/>
            </a:lvl1pPr>
            <a:lvl2pPr>
              <a:defRPr sz="2397"/>
            </a:lvl2pPr>
            <a:lvl3pPr>
              <a:defRPr sz="2023"/>
            </a:lvl3pPr>
            <a:lvl4pPr>
              <a:defRPr sz="1798"/>
            </a:lvl4pPr>
            <a:lvl5pPr>
              <a:defRPr sz="1798"/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1402556"/>
            <a:ext cx="4062412" cy="3238500"/>
          </a:xfrm>
        </p:spPr>
        <p:txBody>
          <a:bodyPr/>
          <a:lstStyle>
            <a:lvl1pPr>
              <a:defRPr sz="2772"/>
            </a:lvl1pPr>
            <a:lvl2pPr>
              <a:defRPr sz="2397"/>
            </a:lvl2pPr>
            <a:lvl3pPr>
              <a:defRPr sz="2023"/>
            </a:lvl3pPr>
            <a:lvl4pPr>
              <a:defRPr sz="1798"/>
            </a:lvl4pPr>
            <a:lvl5pPr>
              <a:defRPr sz="1798"/>
            </a:lvl5pPr>
            <a:lvl6pPr>
              <a:defRPr sz="1798"/>
            </a:lvl6pPr>
            <a:lvl7pPr>
              <a:defRPr sz="1798"/>
            </a:lvl7pPr>
            <a:lvl8pPr>
              <a:defRPr sz="1798"/>
            </a:lvl8pPr>
            <a:lvl9pPr>
              <a:defRPr sz="1798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83332952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151338"/>
            <a:ext cx="4040188" cy="479822"/>
          </a:xfrm>
        </p:spPr>
        <p:txBody>
          <a:bodyPr anchor="b"/>
          <a:lstStyle>
            <a:lvl1pPr marL="0" indent="0">
              <a:buNone/>
              <a:defRPr sz="2397" b="1"/>
            </a:lvl1pPr>
            <a:lvl2pPr marL="457009" indent="0">
              <a:buNone/>
              <a:defRPr sz="2023" b="1"/>
            </a:lvl2pPr>
            <a:lvl3pPr marL="914018" indent="0">
              <a:buNone/>
              <a:defRPr sz="1798" b="1"/>
            </a:lvl3pPr>
            <a:lvl4pPr marL="1371028" indent="0">
              <a:buNone/>
              <a:defRPr sz="1573" b="1"/>
            </a:lvl4pPr>
            <a:lvl5pPr marL="1828037" indent="0">
              <a:buNone/>
              <a:defRPr sz="1573" b="1"/>
            </a:lvl5pPr>
            <a:lvl6pPr marL="2285046" indent="0">
              <a:buNone/>
              <a:defRPr sz="1573" b="1"/>
            </a:lvl6pPr>
            <a:lvl7pPr marL="2742055" indent="0">
              <a:buNone/>
              <a:defRPr sz="1573" b="1"/>
            </a:lvl7pPr>
            <a:lvl8pPr marL="3199065" indent="0">
              <a:buNone/>
              <a:defRPr sz="1573" b="1"/>
            </a:lvl8pPr>
            <a:lvl9pPr marL="3656074" indent="0">
              <a:buNone/>
              <a:defRPr sz="1573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397"/>
            </a:lvl1pPr>
            <a:lvl2pPr>
              <a:defRPr sz="2023"/>
            </a:lvl2pPr>
            <a:lvl3pPr>
              <a:defRPr sz="1798"/>
            </a:lvl3pPr>
            <a:lvl4pPr>
              <a:defRPr sz="1573"/>
            </a:lvl4pPr>
            <a:lvl5pPr>
              <a:defRPr sz="1573"/>
            </a:lvl5pPr>
            <a:lvl6pPr>
              <a:defRPr sz="1573"/>
            </a:lvl6pPr>
            <a:lvl7pPr>
              <a:defRPr sz="1573"/>
            </a:lvl7pPr>
            <a:lvl8pPr>
              <a:defRPr sz="1573"/>
            </a:lvl8pPr>
            <a:lvl9pPr>
              <a:defRPr sz="1573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31" y="1151338"/>
            <a:ext cx="4041775" cy="479822"/>
          </a:xfrm>
        </p:spPr>
        <p:txBody>
          <a:bodyPr anchor="b"/>
          <a:lstStyle>
            <a:lvl1pPr marL="0" indent="0">
              <a:buNone/>
              <a:defRPr sz="2397" b="1"/>
            </a:lvl1pPr>
            <a:lvl2pPr marL="457009" indent="0">
              <a:buNone/>
              <a:defRPr sz="2023" b="1"/>
            </a:lvl2pPr>
            <a:lvl3pPr marL="914018" indent="0">
              <a:buNone/>
              <a:defRPr sz="1798" b="1"/>
            </a:lvl3pPr>
            <a:lvl4pPr marL="1371028" indent="0">
              <a:buNone/>
              <a:defRPr sz="1573" b="1"/>
            </a:lvl4pPr>
            <a:lvl5pPr marL="1828037" indent="0">
              <a:buNone/>
              <a:defRPr sz="1573" b="1"/>
            </a:lvl5pPr>
            <a:lvl6pPr marL="2285046" indent="0">
              <a:buNone/>
              <a:defRPr sz="1573" b="1"/>
            </a:lvl6pPr>
            <a:lvl7pPr marL="2742055" indent="0">
              <a:buNone/>
              <a:defRPr sz="1573" b="1"/>
            </a:lvl7pPr>
            <a:lvl8pPr marL="3199065" indent="0">
              <a:buNone/>
              <a:defRPr sz="1573" b="1"/>
            </a:lvl8pPr>
            <a:lvl9pPr marL="3656074" indent="0">
              <a:buNone/>
              <a:defRPr sz="1573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31" y="1631156"/>
            <a:ext cx="4041775" cy="2963466"/>
          </a:xfrm>
        </p:spPr>
        <p:txBody>
          <a:bodyPr/>
          <a:lstStyle>
            <a:lvl1pPr>
              <a:defRPr sz="2397"/>
            </a:lvl1pPr>
            <a:lvl2pPr>
              <a:defRPr sz="2023"/>
            </a:lvl2pPr>
            <a:lvl3pPr>
              <a:defRPr sz="1798"/>
            </a:lvl3pPr>
            <a:lvl4pPr>
              <a:defRPr sz="1573"/>
            </a:lvl4pPr>
            <a:lvl5pPr>
              <a:defRPr sz="1573"/>
            </a:lvl5pPr>
            <a:lvl6pPr>
              <a:defRPr sz="1573"/>
            </a:lvl6pPr>
            <a:lvl7pPr>
              <a:defRPr sz="1573"/>
            </a:lvl7pPr>
            <a:lvl8pPr>
              <a:defRPr sz="1573"/>
            </a:lvl8pPr>
            <a:lvl9pPr>
              <a:defRPr sz="1573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Rectangle 14"/>
          <p:cNvSpPr>
            <a:spLocks noGrp="1" noChangeArrowheads="1"/>
          </p:cNvSpPr>
          <p:nvPr>
            <p:ph type="ftr" sz="quarter" idx="10"/>
          </p:nvPr>
        </p:nvSpPr>
        <p:spPr>
          <a:xfrm>
            <a:off x="5880100" y="4772032"/>
            <a:ext cx="2895600" cy="1952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GB FE 14  –  06/2013</a:t>
            </a:r>
          </a:p>
        </p:txBody>
      </p:sp>
    </p:spTree>
    <p:extLst>
      <p:ext uri="{BB962C8B-B14F-4D97-AF65-F5344CB8AC3E}">
        <p14:creationId xmlns:p14="http://schemas.microsoft.com/office/powerpoint/2010/main" val="334852189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ftr" sz="quarter" idx="10"/>
          </p:nvPr>
        </p:nvSpPr>
        <p:spPr>
          <a:xfrm>
            <a:off x="5880100" y="4772032"/>
            <a:ext cx="2895600" cy="1952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GB FE 14  –  06/2013</a:t>
            </a:r>
          </a:p>
        </p:txBody>
      </p:sp>
    </p:spTree>
    <p:extLst>
      <p:ext uri="{BB962C8B-B14F-4D97-AF65-F5344CB8AC3E}">
        <p14:creationId xmlns:p14="http://schemas.microsoft.com/office/powerpoint/2010/main" val="29795998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Rectangle 14"/>
          <p:cNvSpPr>
            <a:spLocks noGrp="1" noChangeArrowheads="1"/>
          </p:cNvSpPr>
          <p:nvPr>
            <p:ph type="ftr" sz="quarter" idx="10"/>
          </p:nvPr>
        </p:nvSpPr>
        <p:spPr>
          <a:xfrm>
            <a:off x="5880100" y="4772032"/>
            <a:ext cx="2895600" cy="1952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GB FE 14  –  06/2013</a:t>
            </a:r>
          </a:p>
        </p:txBody>
      </p:sp>
    </p:spTree>
    <p:extLst>
      <p:ext uri="{BB962C8B-B14F-4D97-AF65-F5344CB8AC3E}">
        <p14:creationId xmlns:p14="http://schemas.microsoft.com/office/powerpoint/2010/main" val="8501345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04793"/>
            <a:ext cx="3008313" cy="871538"/>
          </a:xfrm>
        </p:spPr>
        <p:txBody>
          <a:bodyPr/>
          <a:lstStyle>
            <a:lvl1pPr algn="l">
              <a:defRPr sz="2023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04795"/>
            <a:ext cx="5111750" cy="4389835"/>
          </a:xfrm>
        </p:spPr>
        <p:txBody>
          <a:bodyPr/>
          <a:lstStyle>
            <a:lvl1pPr>
              <a:defRPr sz="3222"/>
            </a:lvl1pPr>
            <a:lvl2pPr>
              <a:defRPr sz="2772"/>
            </a:lvl2pPr>
            <a:lvl3pPr>
              <a:defRPr sz="2397"/>
            </a:lvl3pPr>
            <a:lvl4pPr>
              <a:defRPr sz="2023"/>
            </a:lvl4pPr>
            <a:lvl5pPr>
              <a:defRPr sz="2023"/>
            </a:lvl5pPr>
            <a:lvl6pPr>
              <a:defRPr sz="2023"/>
            </a:lvl6pPr>
            <a:lvl7pPr>
              <a:defRPr sz="2023"/>
            </a:lvl7pPr>
            <a:lvl8pPr>
              <a:defRPr sz="2023"/>
            </a:lvl8pPr>
            <a:lvl9pPr>
              <a:defRPr sz="2023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1" y="1076328"/>
            <a:ext cx="3008313" cy="3518297"/>
          </a:xfrm>
        </p:spPr>
        <p:txBody>
          <a:bodyPr/>
          <a:lstStyle>
            <a:lvl1pPr marL="0" indent="0">
              <a:buNone/>
              <a:defRPr sz="1423"/>
            </a:lvl1pPr>
            <a:lvl2pPr marL="457009" indent="0">
              <a:buNone/>
              <a:defRPr sz="1199"/>
            </a:lvl2pPr>
            <a:lvl3pPr marL="914018" indent="0">
              <a:buNone/>
              <a:defRPr sz="974"/>
            </a:lvl3pPr>
            <a:lvl4pPr marL="1371028" indent="0">
              <a:buNone/>
              <a:defRPr sz="899"/>
            </a:lvl4pPr>
            <a:lvl5pPr marL="1828037" indent="0">
              <a:buNone/>
              <a:defRPr sz="899"/>
            </a:lvl5pPr>
            <a:lvl6pPr marL="2285046" indent="0">
              <a:buNone/>
              <a:defRPr sz="899"/>
            </a:lvl6pPr>
            <a:lvl7pPr marL="2742055" indent="0">
              <a:buNone/>
              <a:defRPr sz="899"/>
            </a:lvl7pPr>
            <a:lvl8pPr marL="3199065" indent="0">
              <a:buNone/>
              <a:defRPr sz="899"/>
            </a:lvl8pPr>
            <a:lvl9pPr marL="3656074" indent="0">
              <a:buNone/>
              <a:defRPr sz="899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0"/>
          </p:nvPr>
        </p:nvSpPr>
        <p:spPr>
          <a:xfrm>
            <a:off x="5880100" y="4772032"/>
            <a:ext cx="2895600" cy="1952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GB FE 14  –  06/2013</a:t>
            </a:r>
          </a:p>
        </p:txBody>
      </p:sp>
    </p:spTree>
    <p:extLst>
      <p:ext uri="{BB962C8B-B14F-4D97-AF65-F5344CB8AC3E}">
        <p14:creationId xmlns:p14="http://schemas.microsoft.com/office/powerpoint/2010/main" val="20898536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7"/>
            <a:ext cx="5486400" cy="425054"/>
          </a:xfrm>
        </p:spPr>
        <p:txBody>
          <a:bodyPr/>
          <a:lstStyle>
            <a:lvl1pPr algn="l">
              <a:defRPr sz="2023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22"/>
            </a:lvl1pPr>
            <a:lvl2pPr marL="457009" indent="0">
              <a:buNone/>
              <a:defRPr sz="2772"/>
            </a:lvl2pPr>
            <a:lvl3pPr marL="914018" indent="0">
              <a:buNone/>
              <a:defRPr sz="2397"/>
            </a:lvl3pPr>
            <a:lvl4pPr marL="1371028" indent="0">
              <a:buNone/>
              <a:defRPr sz="2023"/>
            </a:lvl4pPr>
            <a:lvl5pPr marL="1828037" indent="0">
              <a:buNone/>
              <a:defRPr sz="2023"/>
            </a:lvl5pPr>
            <a:lvl6pPr marL="2285046" indent="0">
              <a:buNone/>
              <a:defRPr sz="2023"/>
            </a:lvl6pPr>
            <a:lvl7pPr marL="2742055" indent="0">
              <a:buNone/>
              <a:defRPr sz="2023"/>
            </a:lvl7pPr>
            <a:lvl8pPr marL="3199065" indent="0">
              <a:buNone/>
              <a:defRPr sz="2023"/>
            </a:lvl8pPr>
            <a:lvl9pPr marL="3656074" indent="0">
              <a:buNone/>
              <a:defRPr sz="2023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4025510"/>
            <a:ext cx="5486400" cy="603647"/>
          </a:xfrm>
        </p:spPr>
        <p:txBody>
          <a:bodyPr/>
          <a:lstStyle>
            <a:lvl1pPr marL="0" indent="0">
              <a:buNone/>
              <a:defRPr sz="1423"/>
            </a:lvl1pPr>
            <a:lvl2pPr marL="457009" indent="0">
              <a:buNone/>
              <a:defRPr sz="1199"/>
            </a:lvl2pPr>
            <a:lvl3pPr marL="914018" indent="0">
              <a:buNone/>
              <a:defRPr sz="974"/>
            </a:lvl3pPr>
            <a:lvl4pPr marL="1371028" indent="0">
              <a:buNone/>
              <a:defRPr sz="899"/>
            </a:lvl4pPr>
            <a:lvl5pPr marL="1828037" indent="0">
              <a:buNone/>
              <a:defRPr sz="899"/>
            </a:lvl5pPr>
            <a:lvl6pPr marL="2285046" indent="0">
              <a:buNone/>
              <a:defRPr sz="899"/>
            </a:lvl6pPr>
            <a:lvl7pPr marL="2742055" indent="0">
              <a:buNone/>
              <a:defRPr sz="899"/>
            </a:lvl7pPr>
            <a:lvl8pPr marL="3199065" indent="0">
              <a:buNone/>
              <a:defRPr sz="899"/>
            </a:lvl8pPr>
            <a:lvl9pPr marL="3656074" indent="0">
              <a:buNone/>
              <a:defRPr sz="899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ftr" sz="quarter" idx="10"/>
          </p:nvPr>
        </p:nvSpPr>
        <p:spPr>
          <a:xfrm>
            <a:off x="5880100" y="4772032"/>
            <a:ext cx="2895600" cy="1952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GB FE 14  –  06/2013</a:t>
            </a:r>
          </a:p>
        </p:txBody>
      </p:sp>
    </p:spTree>
    <p:extLst>
      <p:ext uri="{BB962C8B-B14F-4D97-AF65-F5344CB8AC3E}">
        <p14:creationId xmlns:p14="http://schemas.microsoft.com/office/powerpoint/2010/main" val="329488006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ftr" sz="quarter" idx="10"/>
          </p:nvPr>
        </p:nvSpPr>
        <p:spPr>
          <a:xfrm>
            <a:off x="5880100" y="4772032"/>
            <a:ext cx="2895600" cy="1952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GB FE 14  –  06/2013</a:t>
            </a:r>
          </a:p>
        </p:txBody>
      </p:sp>
    </p:spTree>
    <p:extLst>
      <p:ext uri="{BB962C8B-B14F-4D97-AF65-F5344CB8AC3E}">
        <p14:creationId xmlns:p14="http://schemas.microsoft.com/office/powerpoint/2010/main" val="375196119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88981" y="3604312"/>
            <a:ext cx="6858000" cy="64800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 marL="342900" indent="-342900">
              <a:buNone/>
              <a:defRPr kumimoji="0" lang="de-DE" sz="2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</a:lstStyle>
          <a:p>
            <a:pPr marL="0" marR="0" lvl="0" indent="0" defTabSz="68580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tabLst/>
            </a:pPr>
            <a:r>
              <a:rPr lang="de-DE" dirty="0"/>
              <a:t>Untertitel Arial, 22 Punk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147051" y="1843923"/>
            <a:ext cx="7617600" cy="1638000"/>
          </a:xfrm>
          <a:prstGeom prst="rect">
            <a:avLst/>
          </a:prstGeom>
        </p:spPr>
        <p:txBody>
          <a:bodyPr/>
          <a:lstStyle>
            <a:lvl1pPr>
              <a:defRPr kumimoji="0" lang="de-DE" sz="5200" b="0" i="0" u="none" strike="noStrike" kern="120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Präsentationstitel Arial, 52 Punkt</a:t>
            </a:r>
          </a:p>
        </p:txBody>
      </p:sp>
      <p:sp>
        <p:nvSpPr>
          <p:cNvPr id="9" name="Text Box 32"/>
          <p:cNvSpPr txBox="1">
            <a:spLocks noChangeArrowheads="1"/>
          </p:cNvSpPr>
          <p:nvPr userDrawn="1"/>
        </p:nvSpPr>
        <p:spPr bwMode="auto">
          <a:xfrm>
            <a:off x="4572000" y="378804"/>
            <a:ext cx="3581400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spcBef>
                <a:spcPct val="50000"/>
              </a:spcBef>
              <a:defRPr/>
            </a:pPr>
            <a:r>
              <a:rPr lang="de-CH" sz="800" dirty="0"/>
              <a:t>Eidgenössisches Departement des Innern EDI</a:t>
            </a:r>
            <a:br>
              <a:rPr lang="de-CH" sz="800" dirty="0"/>
            </a:br>
            <a:r>
              <a:rPr lang="de-CH" sz="800" b="1" dirty="0"/>
              <a:t>Bundesamt für Meteorologie und Klimatologie </a:t>
            </a:r>
            <a:r>
              <a:rPr lang="de-CH" sz="800" b="1" dirty="0" err="1"/>
              <a:t>MeteoSchweiz</a:t>
            </a:r>
            <a:endParaRPr lang="de-CH" sz="800" dirty="0"/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911188" y="362579"/>
            <a:ext cx="2011958" cy="523875"/>
            <a:chOff x="911188" y="362579"/>
            <a:chExt cx="2011958" cy="523875"/>
          </a:xfrm>
        </p:grpSpPr>
        <p:pic>
          <p:nvPicPr>
            <p:cNvPr id="11" name="Picture 37" descr="Logo_CMYK_pos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6071" y="378454"/>
              <a:ext cx="1997075" cy="50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44" descr="Wapp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1188" y="362579"/>
              <a:ext cx="292100" cy="33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750449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-6410"/>
            <a:ext cx="9162000" cy="5157000"/>
          </a:xfrm>
          <a:prstGeom prst="rect">
            <a:avLst/>
          </a:prstGeom>
          <a:solidFill>
            <a:srgbClr val="7D6E5F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100" b="0" i="0" u="none" strike="noStrike" kern="0" cap="none" spc="0" normalizeH="0" baseline="0" noProof="0">
              <a:ln>
                <a:noFill/>
              </a:ln>
              <a:solidFill>
                <a:srgbClr val="B4A89C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532413" y="1808163"/>
            <a:ext cx="6081933" cy="2133875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CH"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CH" dirty="0"/>
              <a:t>Statement Arial normal 18. </a:t>
            </a:r>
            <a:r>
              <a:rPr lang="de-CH" dirty="0" err="1"/>
              <a:t>Feugiamet</a:t>
            </a:r>
            <a:r>
              <a:rPr lang="de-CH" dirty="0"/>
              <a:t> ad </a:t>
            </a:r>
            <a:r>
              <a:rPr lang="de-CH" dirty="0" err="1"/>
              <a:t>delisl</a:t>
            </a:r>
            <a:r>
              <a:rPr lang="de-CH" dirty="0"/>
              <a:t> in </a:t>
            </a:r>
            <a:r>
              <a:rPr lang="de-CH" dirty="0" err="1"/>
              <a:t>hent</a:t>
            </a:r>
            <a:r>
              <a:rPr lang="de-CH" dirty="0"/>
              <a:t> ad </a:t>
            </a:r>
            <a:r>
              <a:rPr lang="de-CH" dirty="0" err="1"/>
              <a:t>estion</a:t>
            </a:r>
            <a:r>
              <a:rPr lang="de-CH" dirty="0"/>
              <a:t> </a:t>
            </a:r>
            <a:r>
              <a:rPr lang="de-CH" dirty="0" err="1"/>
              <a:t>hent</a:t>
            </a:r>
            <a:r>
              <a:rPr lang="de-CH" dirty="0"/>
              <a:t> </a:t>
            </a:r>
            <a:r>
              <a:rPr lang="de-CH" dirty="0" err="1"/>
              <a:t>prat</a:t>
            </a:r>
            <a:r>
              <a:rPr lang="de-CH" dirty="0"/>
              <a:t> </a:t>
            </a:r>
            <a:r>
              <a:rPr lang="de-CH" dirty="0" err="1"/>
              <a:t>lortincilit</a:t>
            </a:r>
            <a:r>
              <a:rPr lang="de-CH" dirty="0"/>
              <a:t> </a:t>
            </a:r>
            <a:r>
              <a:rPr lang="de-CH" dirty="0" err="1"/>
              <a:t>utem</a:t>
            </a:r>
            <a:r>
              <a:rPr lang="de-CH" dirty="0"/>
              <a:t> </a:t>
            </a:r>
            <a:r>
              <a:rPr lang="de-CH" dirty="0" err="1"/>
              <a:t>doloreet</a:t>
            </a:r>
            <a:r>
              <a:rPr lang="de-CH" dirty="0"/>
              <a:t> </a:t>
            </a:r>
            <a:r>
              <a:rPr lang="de-CH" dirty="0" err="1"/>
              <a:t>alisis</a:t>
            </a:r>
            <a:r>
              <a:rPr lang="de-CH" dirty="0"/>
              <a:t> </a:t>
            </a:r>
            <a:r>
              <a:rPr lang="de-CH" dirty="0" err="1"/>
              <a:t>auguerc</a:t>
            </a:r>
            <a:r>
              <a:rPr lang="de-CH" dirty="0"/>
              <a:t> </a:t>
            </a:r>
            <a:r>
              <a:rPr lang="de-CH" dirty="0" err="1"/>
              <a:t>iliquatum</a:t>
            </a:r>
            <a:r>
              <a:rPr lang="de-CH" dirty="0"/>
              <a:t> </a:t>
            </a:r>
            <a:r>
              <a:rPr lang="de-CH" dirty="0" err="1"/>
              <a:t>euipsuscilis</a:t>
            </a:r>
            <a:r>
              <a:rPr lang="de-CH" dirty="0"/>
              <a:t> </a:t>
            </a:r>
            <a:r>
              <a:rPr lang="de-CH" dirty="0" err="1"/>
              <a:t>augue</a:t>
            </a:r>
            <a:r>
              <a:rPr lang="de-CH" dirty="0"/>
              <a:t> do </a:t>
            </a:r>
            <a:r>
              <a:rPr lang="de-CH" dirty="0" err="1"/>
              <a:t>consequipis</a:t>
            </a:r>
            <a:r>
              <a:rPr lang="de-CH" dirty="0"/>
              <a:t> </a:t>
            </a:r>
            <a:r>
              <a:rPr lang="de-CH" dirty="0" err="1"/>
              <a:t>nulputpat</a:t>
            </a:r>
            <a:r>
              <a:rPr lang="de-CH" dirty="0"/>
              <a:t> </a:t>
            </a:r>
            <a:r>
              <a:rPr lang="de-CH" dirty="0" err="1"/>
              <a:t>lum</a:t>
            </a:r>
            <a:r>
              <a:rPr lang="de-CH" dirty="0"/>
              <a:t> </a:t>
            </a:r>
            <a:r>
              <a:rPr lang="de-CH" dirty="0" err="1"/>
              <a:t>dolobore</a:t>
            </a:r>
            <a:r>
              <a:rPr lang="de-CH" dirty="0"/>
              <a:t> </a:t>
            </a:r>
            <a:r>
              <a:rPr lang="de-CH" dirty="0" err="1"/>
              <a:t>diodolorem</a:t>
            </a:r>
            <a:r>
              <a:rPr lang="de-CH" dirty="0"/>
              <a:t> </a:t>
            </a:r>
            <a:r>
              <a:rPr lang="de-CH" dirty="0" err="1"/>
              <a:t>nullam</a:t>
            </a:r>
            <a:r>
              <a:rPr lang="de-CH" dirty="0"/>
              <a:t>, </a:t>
            </a:r>
            <a:r>
              <a:rPr lang="de-CH" dirty="0" err="1"/>
              <a:t>susting</a:t>
            </a:r>
            <a:r>
              <a:rPr lang="de-CH" dirty="0"/>
              <a:t> </a:t>
            </a:r>
            <a:r>
              <a:rPr lang="de-CH" dirty="0" err="1"/>
              <a:t>eumsan</a:t>
            </a:r>
            <a:r>
              <a:rPr lang="de-CH" dirty="0"/>
              <a:t> </a:t>
            </a:r>
            <a:r>
              <a:rPr lang="de-CH" dirty="0" err="1"/>
              <a:t>veliquismod</a:t>
            </a:r>
            <a:r>
              <a:rPr lang="de-CH" dirty="0"/>
              <a:t> </a:t>
            </a:r>
            <a:r>
              <a:rPr lang="de-CH" dirty="0" err="1"/>
              <a:t>mincin</a:t>
            </a:r>
            <a:r>
              <a:rPr lang="de-CH" dirty="0"/>
              <a:t> </a:t>
            </a:r>
            <a:r>
              <a:rPr lang="de-CH" dirty="0" err="1"/>
              <a:t>ulluptat</a:t>
            </a:r>
            <a:r>
              <a:rPr lang="de-CH" dirty="0"/>
              <a:t>. </a:t>
            </a:r>
            <a:r>
              <a:rPr lang="de-CH" dirty="0" err="1"/>
              <a:t>Nulla</a:t>
            </a:r>
            <a:r>
              <a:rPr lang="de-CH" dirty="0"/>
              <a:t> </a:t>
            </a:r>
            <a:r>
              <a:rPr lang="de-CH" dirty="0" err="1"/>
              <a:t>commy</a:t>
            </a:r>
            <a:r>
              <a:rPr lang="de-CH" dirty="0"/>
              <a:t> </a:t>
            </a:r>
            <a:r>
              <a:rPr lang="de-CH" dirty="0" err="1"/>
              <a:t>niam</a:t>
            </a:r>
            <a:r>
              <a:rPr lang="de-CH" dirty="0"/>
              <a:t>, </a:t>
            </a:r>
            <a:r>
              <a:rPr lang="de-CH" dirty="0" err="1"/>
              <a:t>quismodit</a:t>
            </a:r>
            <a:r>
              <a:rPr lang="de-CH" dirty="0"/>
              <a:t> </a:t>
            </a:r>
            <a:r>
              <a:rPr lang="de-CH" dirty="0" err="1"/>
              <a:t>irilit</a:t>
            </a:r>
            <a:r>
              <a:rPr lang="de-CH" dirty="0"/>
              <a:t> </a:t>
            </a:r>
            <a:r>
              <a:rPr lang="de-CH" dirty="0" err="1"/>
              <a:t>incinim</a:t>
            </a:r>
            <a:r>
              <a:rPr lang="de-CH" dirty="0"/>
              <a:t> </a:t>
            </a:r>
            <a:r>
              <a:rPr lang="de-CH" dirty="0" err="1"/>
              <a:t>velisi</a:t>
            </a:r>
            <a:r>
              <a:rPr lang="de-CH" dirty="0"/>
              <a:t> </a:t>
            </a:r>
            <a:r>
              <a:rPr lang="de-CH" dirty="0" err="1"/>
              <a:t>exero</a:t>
            </a:r>
            <a:r>
              <a:rPr lang="de-CH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19667192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1179830" y="1394459"/>
            <a:ext cx="7527926" cy="2484121"/>
          </a:xfrm>
          <a:prstGeom prst="rect">
            <a:avLst/>
          </a:prstGeom>
        </p:spPr>
        <p:txBody>
          <a:bodyPr/>
          <a:lstStyle>
            <a:lvl1pPr marL="266700" marR="0" indent="-2667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1pPr>
            <a:lvl2pPr marL="714375" indent="-257175">
              <a:buClrTx/>
              <a:buFont typeface="Symbol" panose="05050102010706020507" pitchFamily="18" charset="2"/>
              <a:buChar char="-"/>
              <a:defRPr sz="1600" baseline="0">
                <a:solidFill>
                  <a:schemeClr val="tx1"/>
                </a:solidFill>
              </a:defRPr>
            </a:lvl2pPr>
            <a:lvl3pPr>
              <a:buClrTx/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de-CH" dirty="0"/>
              <a:t>Grundschrift mit Aufzählung, Arial normal, 16 Punkt</a:t>
            </a:r>
          </a:p>
          <a:p>
            <a:pPr lvl="1"/>
            <a:r>
              <a:rPr lang="de-CH" dirty="0"/>
              <a:t>Ebene zwei, 16 Punkt</a:t>
            </a:r>
          </a:p>
          <a:p>
            <a:pPr lvl="2"/>
            <a:endParaRPr lang="de-CH" dirty="0"/>
          </a:p>
        </p:txBody>
      </p:sp>
      <p:sp>
        <p:nvSpPr>
          <p:cNvPr id="14" name="Titel 3"/>
          <p:cNvSpPr>
            <a:spLocks noGrp="1"/>
          </p:cNvSpPr>
          <p:nvPr>
            <p:ph type="title" hasCustomPrompt="1"/>
          </p:nvPr>
        </p:nvSpPr>
        <p:spPr>
          <a:xfrm>
            <a:off x="1186180" y="185710"/>
            <a:ext cx="7516008" cy="708082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r>
              <a:rPr lang="de-DE" dirty="0"/>
              <a:t>Titel, Arial, normal, 32 Punkt</a:t>
            </a:r>
          </a:p>
        </p:txBody>
      </p:sp>
      <p:pic>
        <p:nvPicPr>
          <p:cNvPr id="7" name="Picture 44" descr="Wappen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832" y="374457"/>
            <a:ext cx="292100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8219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58">
          <p15:clr>
            <a:srgbClr val="FBAE40"/>
          </p15:clr>
        </p15:guide>
        <p15:guide id="2" pos="81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3"/>
          <p:cNvSpPr>
            <a:spLocks noGrp="1"/>
          </p:cNvSpPr>
          <p:nvPr>
            <p:ph type="title" hasCustomPrompt="1"/>
          </p:nvPr>
        </p:nvSpPr>
        <p:spPr>
          <a:xfrm>
            <a:off x="609040" y="185710"/>
            <a:ext cx="8298790" cy="708082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r>
              <a:rPr lang="en-GB" noProof="0" dirty="0"/>
              <a:t>Title, Arial, normal, 32 point</a:t>
            </a:r>
          </a:p>
        </p:txBody>
      </p:sp>
    </p:spTree>
    <p:extLst>
      <p:ext uri="{BB962C8B-B14F-4D97-AF65-F5344CB8AC3E}">
        <p14:creationId xmlns:p14="http://schemas.microsoft.com/office/powerpoint/2010/main" val="5565337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1290227" y="3001610"/>
            <a:ext cx="2284015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b="1" dirty="0" err="1">
                <a:solidFill>
                  <a:srgbClr val="000000"/>
                </a:solidFill>
                <a:latin typeface="Arial" charset="0"/>
              </a:rPr>
              <a:t>MeteoSvizzera</a:t>
            </a:r>
            <a:endParaRPr lang="de-DE" sz="1400" dirty="0">
              <a:solidFill>
                <a:srgbClr val="000000"/>
              </a:solidFill>
              <a:latin typeface="Arial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>
                <a:solidFill>
                  <a:srgbClr val="000000"/>
                </a:solidFill>
                <a:latin typeface="Arial" charset="0"/>
              </a:rPr>
              <a:t>Via ai Monti 146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>
                <a:solidFill>
                  <a:srgbClr val="000000"/>
                </a:solidFill>
                <a:latin typeface="Arial" charset="0"/>
              </a:rPr>
              <a:t>CH-6605 Locarno-Monti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>
                <a:solidFill>
                  <a:srgbClr val="000000"/>
                </a:solidFill>
                <a:latin typeface="Arial" charset="0"/>
              </a:rPr>
              <a:t>T +41 58 460 92 22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 err="1">
                <a:solidFill>
                  <a:srgbClr val="000000"/>
                </a:solidFill>
                <a:latin typeface="Arial" charset="0"/>
              </a:rPr>
              <a:t>www.meteosvizzera.ch</a:t>
            </a:r>
            <a:endParaRPr lang="de-DE" sz="1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5" name="Rechteck 14"/>
          <p:cNvSpPr/>
          <p:nvPr userDrawn="1"/>
        </p:nvSpPr>
        <p:spPr>
          <a:xfrm>
            <a:off x="4014378" y="3001610"/>
            <a:ext cx="2005422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b="1" dirty="0" err="1">
                <a:solidFill>
                  <a:srgbClr val="000000"/>
                </a:solidFill>
                <a:latin typeface="Arial" charset="0"/>
              </a:rPr>
              <a:t>MétéoSuisse</a:t>
            </a:r>
            <a:endParaRPr lang="de-DE" sz="1400" dirty="0">
              <a:solidFill>
                <a:srgbClr val="000000"/>
              </a:solidFill>
              <a:latin typeface="Arial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>
                <a:solidFill>
                  <a:srgbClr val="000000"/>
                </a:solidFill>
                <a:latin typeface="Arial" charset="0"/>
              </a:rPr>
              <a:t>7bis, </a:t>
            </a:r>
            <a:r>
              <a:rPr lang="de-DE" sz="1400" dirty="0" err="1">
                <a:solidFill>
                  <a:srgbClr val="000000"/>
                </a:solidFill>
                <a:latin typeface="Arial" charset="0"/>
              </a:rPr>
              <a:t>av</a:t>
            </a:r>
            <a:r>
              <a:rPr lang="de-DE" sz="1400" dirty="0">
                <a:solidFill>
                  <a:srgbClr val="000000"/>
                </a:solidFill>
                <a:latin typeface="Arial" charset="0"/>
              </a:rPr>
              <a:t>. de la </a:t>
            </a:r>
            <a:r>
              <a:rPr lang="de-DE" sz="1400" dirty="0" err="1">
                <a:solidFill>
                  <a:srgbClr val="000000"/>
                </a:solidFill>
                <a:latin typeface="Arial" charset="0"/>
              </a:rPr>
              <a:t>Paix</a:t>
            </a:r>
            <a:endParaRPr lang="de-DE" sz="1400" dirty="0">
              <a:solidFill>
                <a:srgbClr val="000000"/>
              </a:solidFill>
              <a:latin typeface="Arial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400" dirty="0">
                <a:solidFill>
                  <a:srgbClr val="000000"/>
                </a:solidFill>
                <a:latin typeface="Arial" charset="0"/>
              </a:rPr>
              <a:t>CH-1211 Genève 2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400" dirty="0">
                <a:solidFill>
                  <a:srgbClr val="000000"/>
                </a:solidFill>
                <a:latin typeface="Arial" charset="0"/>
              </a:rPr>
              <a:t>T +41 58 460 98 88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400" dirty="0" err="1">
                <a:solidFill>
                  <a:srgbClr val="000000"/>
                </a:solidFill>
                <a:latin typeface="Arial" charset="0"/>
              </a:rPr>
              <a:t>www.meteosuisse.ch</a:t>
            </a:r>
            <a:endParaRPr lang="de-DE" sz="1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6" name="Rechteck 15"/>
          <p:cNvSpPr/>
          <p:nvPr userDrawn="1"/>
        </p:nvSpPr>
        <p:spPr>
          <a:xfrm>
            <a:off x="6484528" y="3001610"/>
            <a:ext cx="210293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b="1" dirty="0" err="1">
                <a:solidFill>
                  <a:srgbClr val="000000"/>
                </a:solidFill>
                <a:latin typeface="Arial" charset="0"/>
              </a:rPr>
              <a:t>MétéoSuisse</a:t>
            </a:r>
            <a:endParaRPr lang="de-DE" sz="1400" dirty="0">
              <a:solidFill>
                <a:srgbClr val="000000"/>
              </a:solidFill>
              <a:latin typeface="Arial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 err="1">
                <a:solidFill>
                  <a:srgbClr val="000000"/>
                </a:solidFill>
                <a:latin typeface="Arial" charset="0"/>
              </a:rPr>
              <a:t>Chemin</a:t>
            </a:r>
            <a:r>
              <a:rPr lang="de-DE" sz="1400" dirty="0">
                <a:solidFill>
                  <a:srgbClr val="000000"/>
                </a:solidFill>
                <a:latin typeface="Arial" charset="0"/>
              </a:rPr>
              <a:t> de </a:t>
            </a:r>
            <a:r>
              <a:rPr lang="de-DE" sz="1400" dirty="0" err="1">
                <a:solidFill>
                  <a:srgbClr val="000000"/>
                </a:solidFill>
                <a:latin typeface="Arial" charset="0"/>
              </a:rPr>
              <a:t>l‘Aérologie</a:t>
            </a:r>
            <a:endParaRPr lang="de-DE" sz="1400" dirty="0">
              <a:solidFill>
                <a:srgbClr val="000000"/>
              </a:solidFill>
              <a:latin typeface="Arial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>
                <a:solidFill>
                  <a:srgbClr val="000000"/>
                </a:solidFill>
                <a:latin typeface="Arial" charset="0"/>
              </a:rPr>
              <a:t>CH-1530 Payerne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>
                <a:solidFill>
                  <a:srgbClr val="000000"/>
                </a:solidFill>
                <a:latin typeface="Arial" charset="0"/>
              </a:rPr>
              <a:t>T +41 58 460 94 44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00" dirty="0" err="1">
                <a:solidFill>
                  <a:srgbClr val="000000"/>
                </a:solidFill>
                <a:latin typeface="Arial" charset="0"/>
              </a:rPr>
              <a:t>www.meteosuisse.ch</a:t>
            </a:r>
            <a:endParaRPr lang="de-DE" sz="1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1277766" y="1217260"/>
            <a:ext cx="3441290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00" b="1" dirty="0" err="1">
                <a:solidFill>
                  <a:srgbClr val="000000"/>
                </a:solidFill>
                <a:latin typeface="Arial" charset="0"/>
              </a:rPr>
              <a:t>MeteoSchweiz</a:t>
            </a:r>
            <a:r>
              <a:rPr lang="de-DE" sz="1600" b="1" dirty="0">
                <a:solidFill>
                  <a:srgbClr val="000000"/>
                </a:solidFill>
                <a:latin typeface="Arial" charset="0"/>
              </a:rPr>
              <a:t> 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srgbClr val="000000"/>
                </a:solidFill>
                <a:latin typeface="Arial" charset="0"/>
              </a:rPr>
              <a:t>Operation Center 1 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srgbClr val="000000"/>
                </a:solidFill>
                <a:latin typeface="Arial" charset="0"/>
              </a:rPr>
              <a:t>CH-8058 Zürich-Flughafen 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srgbClr val="000000"/>
                </a:solidFill>
                <a:latin typeface="Arial" charset="0"/>
              </a:rPr>
              <a:t>T +41 58 460 91 11 www.meteoschweiz.ch</a:t>
            </a: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911188" y="362579"/>
            <a:ext cx="2011958" cy="523875"/>
            <a:chOff x="911188" y="362579"/>
            <a:chExt cx="2011958" cy="523875"/>
          </a:xfrm>
        </p:grpSpPr>
        <p:pic>
          <p:nvPicPr>
            <p:cNvPr id="17" name="Picture 37" descr="Logo_CMYK_pos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6071" y="378454"/>
              <a:ext cx="1997075" cy="50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44" descr="Wappen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1188" y="362579"/>
              <a:ext cx="292100" cy="33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75" y="4106635"/>
            <a:ext cx="9028091" cy="101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995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E251345D-89BF-437F-93BC-C93C7F434E2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chulz et al.: PP CITTA'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42908A94-A366-4191-9D7C-D72EA3D439F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4 Sep. 2022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D56A708B-FC5F-4931-88B0-62AEE6649FE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163C38-651B-42F0-A3CD-2FB32E2873D7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9477412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E251345D-89BF-437F-93BC-C93C7F434E2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chulz et al.: PP CITTA'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42908A94-A366-4191-9D7C-D72EA3D439F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4 Sep. 2022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D56A708B-FC5F-4931-88B0-62AEE6649FE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30F3E1-94F9-4178-8778-7DA956D104BF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194294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E251345D-89BF-437F-93BC-C93C7F434E2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chulz et al.: PP CITTA'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42908A94-A366-4191-9D7C-D72EA3D439F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4 Sep. 2022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D56A708B-FC5F-4931-88B0-62AEE6649FE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FD06BA-45A0-4F02-B0AC-9E1F6B846DBD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947832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85800" y="1485900"/>
            <a:ext cx="3810000" cy="30861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485900"/>
            <a:ext cx="3810000" cy="30861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251345D-89BF-437F-93BC-C93C7F434E2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chulz et al.: PP CITTA'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908A94-A366-4191-9D7C-D72EA3D439F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4 Sep. 202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6A708B-FC5F-4931-88B0-62AEE6649FE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BB0378-3FBE-47AF-B5AF-E486D6E97414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6765675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E251345D-89BF-437F-93BC-C93C7F434E2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chulz et al.: PP CITTA'</a:t>
            </a: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42908A94-A366-4191-9D7C-D72EA3D439F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4 Sep. 2022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D56A708B-FC5F-4931-88B0-62AEE6649FE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B46C0A-0823-4C15-A976-4015FB167E52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85233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E251345D-89BF-437F-93BC-C93C7F434E2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chulz et al.: PP CITTA'</a:t>
            </a: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42908A94-A366-4191-9D7C-D72EA3D439F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4 Sep. 2022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D56A708B-FC5F-4931-88B0-62AEE6649FE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AD6778-7527-4EDB-95BC-AB571C4EF831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987283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E251345D-89BF-437F-93BC-C93C7F434E2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chulz et al.: PP CITTA'</a:t>
            </a:r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42908A94-A366-4191-9D7C-D72EA3D439F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4 Sep. 2022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D56A708B-FC5F-4931-88B0-62AEE6649FE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22D347-5B59-4E56-9965-046F2F639812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2670204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251345D-89BF-437F-93BC-C93C7F434E2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chulz et al.: PP CITTA'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908A94-A366-4191-9D7C-D72EA3D439F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4 Sep. 202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6A708B-FC5F-4931-88B0-62AEE6649FE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619F18-459E-428C-BA7F-8DAED57D2689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767939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251345D-89BF-437F-93BC-C93C7F434E2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chulz et al.: PP CITTA'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908A94-A366-4191-9D7C-D72EA3D439F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4 Sep. 2022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6A708B-FC5F-4931-88B0-62AEE6649FE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CD1CDA-6790-4479-B5EE-6CB9E4B91BCD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8454283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-185" b="74924"/>
          <a:stretch/>
        </p:blipFill>
        <p:spPr>
          <a:xfrm>
            <a:off x="75165" y="4068473"/>
            <a:ext cx="9037853" cy="1023496"/>
          </a:xfrm>
          <a:prstGeom prst="rect">
            <a:avLst/>
          </a:prstGeom>
        </p:spPr>
      </p:pic>
      <p:sp>
        <p:nvSpPr>
          <p:cNvPr id="13" name="Rechteck 12"/>
          <p:cNvSpPr/>
          <p:nvPr userDrawn="1"/>
        </p:nvSpPr>
        <p:spPr>
          <a:xfrm>
            <a:off x="1290227" y="3001610"/>
            <a:ext cx="2284015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400" b="1" noProof="0" dirty="0" err="1"/>
              <a:t>MeteoSvizzera</a:t>
            </a:r>
            <a:endParaRPr lang="en-GB" sz="1400" noProof="0" dirty="0"/>
          </a:p>
          <a:p>
            <a:r>
              <a:rPr lang="en-GB" sz="1400" noProof="0" dirty="0"/>
              <a:t>Via </a:t>
            </a:r>
            <a:r>
              <a:rPr lang="en-GB" sz="1400" noProof="0" dirty="0" err="1"/>
              <a:t>ai</a:t>
            </a:r>
            <a:r>
              <a:rPr lang="en-GB" sz="1400" noProof="0" dirty="0"/>
              <a:t> Monti 146</a:t>
            </a:r>
          </a:p>
          <a:p>
            <a:r>
              <a:rPr lang="en-GB" sz="1400" noProof="0" dirty="0"/>
              <a:t>CH-6605 Locarno-Monti</a:t>
            </a:r>
          </a:p>
          <a:p>
            <a:r>
              <a:rPr lang="en-GB" sz="1400" noProof="0" dirty="0"/>
              <a:t>T +41 58 460 92 22</a:t>
            </a:r>
          </a:p>
          <a:p>
            <a:r>
              <a:rPr lang="en-GB" sz="1400" noProof="0" dirty="0"/>
              <a:t>www.meteosvizzera.ch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4014378" y="3001610"/>
            <a:ext cx="2005422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b="1" noProof="0" dirty="0">
                <a:solidFill>
                  <a:srgbClr val="000000"/>
                </a:solidFill>
                <a:latin typeface="Arial" charset="0"/>
              </a:rPr>
              <a:t>MétéoSuisse</a:t>
            </a:r>
            <a:endParaRPr lang="en-GB" sz="1400" noProof="0" dirty="0">
              <a:solidFill>
                <a:srgbClr val="000000"/>
              </a:solidFill>
              <a:latin typeface="Arial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noProof="0" dirty="0">
                <a:solidFill>
                  <a:srgbClr val="000000"/>
                </a:solidFill>
                <a:latin typeface="Arial" charset="0"/>
              </a:rPr>
              <a:t>7bis, av. de la </a:t>
            </a:r>
            <a:r>
              <a:rPr lang="en-GB" sz="1400" noProof="0" dirty="0" err="1">
                <a:solidFill>
                  <a:srgbClr val="000000"/>
                </a:solidFill>
                <a:latin typeface="Arial" charset="0"/>
              </a:rPr>
              <a:t>Paix</a:t>
            </a:r>
            <a:endParaRPr lang="en-GB" sz="1400" noProof="0" dirty="0">
              <a:solidFill>
                <a:srgbClr val="000000"/>
              </a:solidFill>
              <a:latin typeface="Arial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noProof="0" dirty="0">
                <a:solidFill>
                  <a:srgbClr val="000000"/>
                </a:solidFill>
                <a:latin typeface="Arial" charset="0"/>
              </a:rPr>
              <a:t>CH-1211 Genève 2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noProof="0" dirty="0">
                <a:solidFill>
                  <a:srgbClr val="000000"/>
                </a:solidFill>
                <a:latin typeface="Arial" charset="0"/>
              </a:rPr>
              <a:t>T +41 58 460 98 88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noProof="0" dirty="0">
                <a:solidFill>
                  <a:srgbClr val="000000"/>
                </a:solidFill>
                <a:latin typeface="Arial" charset="0"/>
              </a:rPr>
              <a:t>www.meteosuisse.ch</a:t>
            </a:r>
          </a:p>
        </p:txBody>
      </p:sp>
      <p:sp>
        <p:nvSpPr>
          <p:cNvPr id="16" name="Rechteck 15"/>
          <p:cNvSpPr/>
          <p:nvPr userDrawn="1"/>
        </p:nvSpPr>
        <p:spPr>
          <a:xfrm>
            <a:off x="6484528" y="3001610"/>
            <a:ext cx="2102930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b="1" noProof="0" dirty="0">
                <a:solidFill>
                  <a:srgbClr val="000000"/>
                </a:solidFill>
                <a:latin typeface="Arial" charset="0"/>
              </a:rPr>
              <a:t>MétéoSuisse</a:t>
            </a:r>
            <a:endParaRPr lang="en-GB" sz="1400" noProof="0" dirty="0">
              <a:solidFill>
                <a:srgbClr val="000000"/>
              </a:solidFill>
              <a:latin typeface="Arial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noProof="0" dirty="0" err="1">
                <a:solidFill>
                  <a:srgbClr val="000000"/>
                </a:solidFill>
                <a:latin typeface="Arial" charset="0"/>
              </a:rPr>
              <a:t>Chemin</a:t>
            </a:r>
            <a:r>
              <a:rPr lang="en-GB" sz="1400" noProof="0" dirty="0">
                <a:solidFill>
                  <a:srgbClr val="000000"/>
                </a:solidFill>
                <a:latin typeface="Arial" charset="0"/>
              </a:rPr>
              <a:t> de </a:t>
            </a:r>
            <a:r>
              <a:rPr lang="en-GB" sz="1400" noProof="0" dirty="0" err="1">
                <a:solidFill>
                  <a:srgbClr val="000000"/>
                </a:solidFill>
                <a:latin typeface="Arial" charset="0"/>
              </a:rPr>
              <a:t>l‘Aérologie</a:t>
            </a:r>
            <a:endParaRPr lang="en-GB" sz="1400" noProof="0" dirty="0">
              <a:solidFill>
                <a:srgbClr val="000000"/>
              </a:solidFill>
              <a:latin typeface="Arial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noProof="0" dirty="0">
                <a:solidFill>
                  <a:srgbClr val="000000"/>
                </a:solidFill>
                <a:latin typeface="Arial" charset="0"/>
              </a:rPr>
              <a:t>CH-1530 </a:t>
            </a:r>
            <a:r>
              <a:rPr lang="en-GB" sz="1400" noProof="0" dirty="0" err="1">
                <a:solidFill>
                  <a:srgbClr val="000000"/>
                </a:solidFill>
                <a:latin typeface="Arial" charset="0"/>
              </a:rPr>
              <a:t>Payerne</a:t>
            </a:r>
            <a:endParaRPr lang="en-GB" sz="1400" noProof="0" dirty="0">
              <a:solidFill>
                <a:srgbClr val="000000"/>
              </a:solidFill>
              <a:latin typeface="Arial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noProof="0" dirty="0">
                <a:solidFill>
                  <a:srgbClr val="000000"/>
                </a:solidFill>
                <a:latin typeface="Arial" charset="0"/>
              </a:rPr>
              <a:t>T +41 58 460 94 44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noProof="0" dirty="0">
                <a:solidFill>
                  <a:srgbClr val="000000"/>
                </a:solidFill>
                <a:latin typeface="Arial" charset="0"/>
              </a:rPr>
              <a:t>www.meteosuisse.ch</a:t>
            </a:r>
          </a:p>
        </p:txBody>
      </p:sp>
      <p:sp>
        <p:nvSpPr>
          <p:cNvPr id="20" name="Rechteck 19"/>
          <p:cNvSpPr/>
          <p:nvPr userDrawn="1"/>
        </p:nvSpPr>
        <p:spPr>
          <a:xfrm>
            <a:off x="1277766" y="1449484"/>
            <a:ext cx="3441290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GB" sz="1600" b="1" noProof="0" dirty="0"/>
              <a:t>MeteoSwiss</a:t>
            </a:r>
          </a:p>
          <a:p>
            <a:r>
              <a:rPr lang="en-GB" sz="1600" b="0" noProof="0" dirty="0"/>
              <a:t>Operation </a:t>
            </a:r>
            <a:r>
              <a:rPr lang="en-GB" sz="1600" b="0" noProof="0" dirty="0" err="1"/>
              <a:t>Center</a:t>
            </a:r>
            <a:r>
              <a:rPr lang="en-GB" sz="1600" b="0" noProof="0" dirty="0"/>
              <a:t> 1 </a:t>
            </a:r>
          </a:p>
          <a:p>
            <a:r>
              <a:rPr lang="en-GB" sz="1600" b="0" noProof="0" dirty="0"/>
              <a:t>CH-8058 Zurich-Airport </a:t>
            </a:r>
          </a:p>
          <a:p>
            <a:r>
              <a:rPr lang="en-GB" sz="1600" b="0" noProof="0" dirty="0"/>
              <a:t>T +41 58 460 91 11 www.meteoswiss.ch</a:t>
            </a:r>
          </a:p>
        </p:txBody>
      </p:sp>
      <p:sp>
        <p:nvSpPr>
          <p:cNvPr id="17" name="Text Box 32"/>
          <p:cNvSpPr txBox="1">
            <a:spLocks noChangeArrowheads="1"/>
          </p:cNvSpPr>
          <p:nvPr userDrawn="1"/>
        </p:nvSpPr>
        <p:spPr bwMode="auto">
          <a:xfrm>
            <a:off x="4572000" y="378804"/>
            <a:ext cx="3581400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05000"/>
              </a:lnSpc>
              <a:spcBef>
                <a:spcPct val="50000"/>
              </a:spcBef>
            </a:pPr>
            <a:r>
              <a:rPr lang="en-GB" sz="800" noProof="0" dirty="0"/>
              <a:t>Federal Department of Home Affairs FDHA</a:t>
            </a:r>
            <a:br>
              <a:rPr lang="en-GB" sz="800" noProof="0" dirty="0"/>
            </a:br>
            <a:r>
              <a:rPr lang="en-GB" sz="800" b="1" noProof="0" dirty="0"/>
              <a:t>Federal Office of Meteorology and Climatology  MeteoSwiss</a:t>
            </a:r>
            <a:endParaRPr lang="en-GB" sz="800" noProof="0" dirty="0"/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924938" y="362579"/>
            <a:ext cx="2004962" cy="774471"/>
            <a:chOff x="924938" y="362579"/>
            <a:chExt cx="2004962" cy="774471"/>
          </a:xfrm>
        </p:grpSpPr>
        <p:pic>
          <p:nvPicPr>
            <p:cNvPr id="14" name="Picture 41" descr="Bund_e_100%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6000" y="375050"/>
              <a:ext cx="1993900" cy="76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44" descr="Wappen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4938" y="362579"/>
              <a:ext cx="292100" cy="33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" name="Rechteck 18"/>
          <p:cNvSpPr/>
          <p:nvPr userDrawn="1"/>
        </p:nvSpPr>
        <p:spPr bwMode="auto">
          <a:xfrm>
            <a:off x="1143070" y="4613704"/>
            <a:ext cx="1320488" cy="27888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100" b="0" i="0" u="none" strike="noStrike" cap="none" normalizeH="0" baseline="0" noProof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1" name="Rechteck 20"/>
          <p:cNvSpPr/>
          <p:nvPr userDrawn="1"/>
        </p:nvSpPr>
        <p:spPr bwMode="auto">
          <a:xfrm>
            <a:off x="1228550" y="4527892"/>
            <a:ext cx="1265367" cy="897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100" b="0" i="0" u="none" strike="noStrike" cap="none" normalizeH="0" baseline="0" noProof="0" dirty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22" name="Bild 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46" t="78006" r="10884"/>
          <a:stretch/>
        </p:blipFill>
        <p:spPr>
          <a:xfrm>
            <a:off x="1254674" y="4630190"/>
            <a:ext cx="1041960" cy="179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21056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E251345D-89BF-437F-93BC-C93C7F434E2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chulz et al.: PP CITTA'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42908A94-A366-4191-9D7C-D72EA3D439F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4 Sep. 2022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D56A708B-FC5F-4931-88B0-62AEE6649FE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BD3189-D822-4812-AF25-9E0EF0DF3118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327055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15100" y="742950"/>
            <a:ext cx="1943100" cy="3829050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85800" y="742950"/>
            <a:ext cx="5676900" cy="38290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E251345D-89BF-437F-93BC-C93C7F434E2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chulz et al.: PP CITTA'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42908A94-A366-4191-9D7C-D72EA3D439F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4 Sep. 2022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D56A708B-FC5F-4931-88B0-62AEE6649FEE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2F629-A050-43E2-A9FC-CCD0C1431FC1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4480898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 descr="Schmuckbild ohne inhaltlichen Bezug zum Vortrag." title="Schmuckbild"/>
          <p:cNvSpPr>
            <a:spLocks noGrp="1"/>
          </p:cNvSpPr>
          <p:nvPr>
            <p:ph type="pic" sz="quarter" idx="13" hasCustomPrompt="1"/>
          </p:nvPr>
        </p:nvSpPr>
        <p:spPr>
          <a:xfrm>
            <a:off x="468313" y="915988"/>
            <a:ext cx="8207375" cy="3600450"/>
          </a:xfrm>
          <a:solidFill>
            <a:schemeClr val="bg2"/>
          </a:solidFill>
        </p:spPr>
        <p:txBody>
          <a:bodyPr anchor="t" anchorCtr="1"/>
          <a:lstStyle>
            <a:lvl1pPr marL="0" indent="0" algn="ctr">
              <a:buFontTx/>
              <a:buNone/>
              <a:defRPr sz="36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Platzhalter für (Titel-) Bild, durch Klicken auf Symbol hinzufü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5287" y="3984374"/>
            <a:ext cx="8353425" cy="651784"/>
          </a:xfrm>
          <a:solidFill>
            <a:schemeClr val="bg1"/>
          </a:solidFill>
        </p:spPr>
        <p:txBody>
          <a:bodyPr tIns="144000" bIns="90000" anchor="b"/>
          <a:lstStyle>
            <a:lvl1pPr algn="ctr">
              <a:defRPr sz="3000"/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>
          <a:xfrm>
            <a:off x="542166" y="4739302"/>
            <a:ext cx="2143884" cy="274637"/>
          </a:xfrm>
        </p:spPr>
        <p:txBody>
          <a:bodyPr/>
          <a:lstStyle/>
          <a:p>
            <a:r>
              <a:rPr lang="de-DE"/>
              <a:t>2024-09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262312" y="4739302"/>
            <a:ext cx="5413375" cy="274637"/>
          </a:xfrm>
        </p:spPr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457882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ohne Bild mit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5287" y="2216974"/>
            <a:ext cx="8353425" cy="415498"/>
          </a:xfrm>
        </p:spPr>
        <p:txBody>
          <a:bodyPr anchor="b"/>
          <a:lstStyle>
            <a:lvl1pPr algn="ctr">
              <a:defRPr sz="3000"/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0" y="2701528"/>
            <a:ext cx="6858000" cy="181491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Untertitelmasters durch Klicken bearbeiten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>
          <a:xfrm>
            <a:off x="542166" y="4739302"/>
            <a:ext cx="2143884" cy="274637"/>
          </a:xfrm>
        </p:spPr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>
          <a:xfrm>
            <a:off x="3262312" y="4739302"/>
            <a:ext cx="5413375" cy="274637"/>
          </a:xfrm>
        </p:spPr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208192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395287" y="864000"/>
            <a:ext cx="8353425" cy="360099"/>
          </a:xfrm>
        </p:spPr>
        <p:txBody>
          <a:bodyPr/>
          <a:lstStyle>
            <a:lvl1pPr>
              <a:defRPr sz="2600"/>
            </a:lvl1pPr>
          </a:lstStyle>
          <a:p>
            <a:r>
              <a:rPr lang="de-DE" dirty="0"/>
              <a:t>Folientitel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287" y="1369219"/>
            <a:ext cx="8353426" cy="31472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65639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Folientitel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287" y="1369219"/>
            <a:ext cx="8353426" cy="3147219"/>
          </a:xfrm>
          <a:prstGeom prst="rect">
            <a:avLst/>
          </a:prstGeom>
        </p:spPr>
        <p:txBody>
          <a:bodyPr numCol="2">
            <a:normAutofit/>
          </a:bodyPr>
          <a:lstStyle>
            <a:lvl1pPr>
              <a:defRPr sz="1800" baseline="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zweispaltig eingeben. 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75248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. Rasterbal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395287" y="864000"/>
            <a:ext cx="7560713" cy="360099"/>
          </a:xfrm>
        </p:spPr>
        <p:txBody>
          <a:bodyPr/>
          <a:lstStyle>
            <a:lvl1pPr>
              <a:defRPr sz="2600"/>
            </a:lvl1pPr>
          </a:lstStyle>
          <a:p>
            <a:r>
              <a:rPr lang="de-DE" dirty="0"/>
              <a:t>Folientitel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287" y="1369219"/>
            <a:ext cx="7560713" cy="31472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10" name="Schmuckbild" descr="Ein breiter Balken am rechten Rand der Präsentation, der von oben nach unten aus Linien aufgebaut ist. Oben sind die Linien hellblau und verlaufen dann nach unten hin nach Weiß. " title="Schmuckbild Rasterbalk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000" y="864000"/>
            <a:ext cx="1047872" cy="367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471147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mit Kernau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Folientitel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287" y="1369219"/>
            <a:ext cx="8353426" cy="244078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 sz="18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800">
                <a:solidFill>
                  <a:srgbClr val="000000"/>
                </a:solidFill>
              </a:defRPr>
            </a:lvl4pPr>
            <a:lvl5pPr>
              <a:defRPr sz="1800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3810000"/>
            <a:ext cx="8353425" cy="720000"/>
          </a:xfrm>
          <a:solidFill>
            <a:schemeClr val="tx1"/>
          </a:solidFill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Setzen Sie hier ein Fazit oder die Kernaussage der Folie ei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882565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Folientitel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95289" y="1369219"/>
            <a:ext cx="4119562" cy="31472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29149" y="1369219"/>
            <a:ext cx="4119563" cy="31472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051649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ergleich 1"/>
          <p:cNvSpPr>
            <a:spLocks noGrp="1"/>
          </p:cNvSpPr>
          <p:nvPr>
            <p:ph type="title" hasCustomPrompt="1"/>
          </p:nvPr>
        </p:nvSpPr>
        <p:spPr>
          <a:xfrm>
            <a:off x="395287" y="864000"/>
            <a:ext cx="4176713" cy="360099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Vergleich 1</a:t>
            </a:r>
          </a:p>
        </p:txBody>
      </p:sp>
      <p:sp>
        <p:nvSpPr>
          <p:cNvPr id="3" name="Inhalt 1"/>
          <p:cNvSpPr>
            <a:spLocks noGrp="1"/>
          </p:cNvSpPr>
          <p:nvPr>
            <p:ph sz="half" idx="1" hasCustomPrompt="1"/>
          </p:nvPr>
        </p:nvSpPr>
        <p:spPr>
          <a:xfrm>
            <a:off x="395289" y="1369219"/>
            <a:ext cx="4119562" cy="31472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sp>
        <p:nvSpPr>
          <p:cNvPr id="10" name="Vergleich 2"/>
          <p:cNvSpPr>
            <a:spLocks noGrp="1"/>
          </p:cNvSpPr>
          <p:nvPr>
            <p:ph type="body" sz="quarter" idx="3" hasCustomPrompt="1"/>
          </p:nvPr>
        </p:nvSpPr>
        <p:spPr>
          <a:xfrm>
            <a:off x="4629150" y="864000"/>
            <a:ext cx="4118400" cy="360000"/>
          </a:xfrm>
          <a:prstGeom prst="rect">
            <a:avLst/>
          </a:prstGeom>
        </p:spPr>
        <p:txBody>
          <a:bodyPr tIns="0" bIns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6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 dirty="0"/>
              <a:t>Vergleich 2</a:t>
            </a:r>
          </a:p>
        </p:txBody>
      </p:sp>
      <p:sp>
        <p:nvSpPr>
          <p:cNvPr id="4" name="Inhalt 2"/>
          <p:cNvSpPr>
            <a:spLocks noGrp="1"/>
          </p:cNvSpPr>
          <p:nvPr>
            <p:ph sz="half" idx="2" hasCustomPrompt="1"/>
          </p:nvPr>
        </p:nvSpPr>
        <p:spPr>
          <a:xfrm>
            <a:off x="4629149" y="1369219"/>
            <a:ext cx="4119563" cy="31472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04492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D058ACE-DD50-4DDA-8FFC-4EF3353B0C63}" type="slidenum">
              <a:rPr lang="en-GB" altLang="de-DE"/>
              <a:pPr/>
              <a:t>‹#›</a:t>
            </a:fld>
            <a:endParaRPr lang="en-GB" altLang="de-DE"/>
          </a:p>
        </p:txBody>
      </p:sp>
    </p:spTree>
    <p:extLst>
      <p:ext uri="{BB962C8B-B14F-4D97-AF65-F5344CB8AC3E}">
        <p14:creationId xmlns:p14="http://schemas.microsoft.com/office/powerpoint/2010/main" val="217677095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Inhalt u.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288" y="864000"/>
            <a:ext cx="3183732" cy="387798"/>
          </a:xfrm>
        </p:spPr>
        <p:txBody>
          <a:bodyPr/>
          <a:lstStyle/>
          <a:p>
            <a:r>
              <a:rPr lang="de-DE" dirty="0"/>
              <a:t>Folientit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95288" y="1543049"/>
            <a:ext cx="3183731" cy="29733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sp>
        <p:nvSpPr>
          <p:cNvPr id="8" name="Bildplatzhalter 6" descr="Schmuckbild ohne inhaltlichen Bezug zum Vortrag." title="Schmuckbild"/>
          <p:cNvSpPr>
            <a:spLocks noGrp="1"/>
          </p:cNvSpPr>
          <p:nvPr>
            <p:ph type="pic" sz="quarter" idx="13"/>
          </p:nvPr>
        </p:nvSpPr>
        <p:spPr>
          <a:xfrm>
            <a:off x="3887390" y="864000"/>
            <a:ext cx="4861323" cy="3652438"/>
          </a:xfrm>
          <a:solidFill>
            <a:schemeClr val="bg2"/>
          </a:solidFill>
        </p:spPr>
        <p:txBody>
          <a:bodyPr anchor="t" anchorCtr="1">
            <a:normAutofit/>
          </a:bodyPr>
          <a:lstStyle>
            <a:lvl1pPr marL="0" indent="0" algn="ctr">
              <a:buFontTx/>
              <a:buNone/>
              <a:defRPr sz="2800" baseline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887388" y="4259069"/>
            <a:ext cx="4861323" cy="257369"/>
          </a:xfrm>
          <a:solidFill>
            <a:schemeClr val="bg1">
              <a:alpha val="50000"/>
            </a:schemeClr>
          </a:solidFill>
        </p:spPr>
        <p:txBody>
          <a:bodyPr wrap="square" anchor="b" anchorCtr="0">
            <a:spAutoFit/>
          </a:bodyPr>
          <a:lstStyle>
            <a:lvl1pPr marL="0" indent="0" algn="r">
              <a:buNone/>
              <a:defRPr sz="120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dirty="0"/>
              <a:t>In diesem Textfeld können Sie die Abbildung kurz erläutern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40740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 und Infoz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4"/>
          <p:cNvSpPr>
            <a:spLocks noGrp="1"/>
          </p:cNvSpPr>
          <p:nvPr>
            <p:ph type="title" hasCustomPrompt="1"/>
          </p:nvPr>
        </p:nvSpPr>
        <p:spPr>
          <a:xfrm>
            <a:off x="395287" y="864000"/>
            <a:ext cx="8353425" cy="387798"/>
          </a:xfrm>
        </p:spPr>
        <p:txBody>
          <a:bodyPr/>
          <a:lstStyle/>
          <a:p>
            <a:r>
              <a:rPr lang="de-DE" dirty="0"/>
              <a:t>Folientitel durch Klicken bearbeiten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288" y="1369219"/>
            <a:ext cx="8353424" cy="314721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Platzhalter durch Klick auf ein Icon füll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95288" y="4259069"/>
            <a:ext cx="8353424" cy="257369"/>
          </a:xfrm>
          <a:solidFill>
            <a:schemeClr val="bg1">
              <a:alpha val="50000"/>
            </a:schemeClr>
          </a:solidFill>
        </p:spPr>
        <p:txBody>
          <a:bodyPr wrap="square" anchor="b" anchorCtr="0">
            <a:spAutoFit/>
          </a:bodyPr>
          <a:lstStyle>
            <a:lvl1pPr marL="0" indent="0" algn="r">
              <a:buNone/>
              <a:defRPr sz="120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dirty="0"/>
              <a:t>In diesem Textfeld können Sie die Abbildung/Chart kurz erläutern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760174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Faktenbox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Folientitel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287" y="1369219"/>
            <a:ext cx="4176713" cy="31472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sp>
        <p:nvSpPr>
          <p:cNvPr id="2" name="Faktenbox Überschrift"/>
          <p:cNvSpPr txBox="1"/>
          <p:nvPr userDrawn="1"/>
        </p:nvSpPr>
        <p:spPr>
          <a:xfrm>
            <a:off x="6782584" y="3317714"/>
            <a:ext cx="1985177" cy="276999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 algn="r"/>
            <a:r>
              <a:rPr lang="de-DE" b="1" dirty="0">
                <a:solidFill>
                  <a:srgbClr val="D1051B"/>
                </a:solidFill>
              </a:rPr>
              <a:t>FAKTEN</a:t>
            </a:r>
            <a:endParaRPr lang="de-DE" dirty="0"/>
          </a:p>
        </p:txBody>
      </p:sp>
      <p:sp>
        <p:nvSpPr>
          <p:cNvPr id="4" name="Faktenbox Inhalt"/>
          <p:cNvSpPr>
            <a:spLocks noGrp="1"/>
          </p:cNvSpPr>
          <p:nvPr>
            <p:ph type="body" sz="quarter" idx="13" hasCustomPrompt="1"/>
          </p:nvPr>
        </p:nvSpPr>
        <p:spPr>
          <a:xfrm>
            <a:off x="4686685" y="3618523"/>
            <a:ext cx="4062027" cy="897914"/>
          </a:xfrm>
        </p:spPr>
        <p:txBody>
          <a:bodyPr/>
          <a:lstStyle>
            <a:lvl1pPr marL="0" indent="0" algn="r">
              <a:buNone/>
              <a:defRPr baseline="0"/>
            </a:lvl1pPr>
          </a:lstStyle>
          <a:p>
            <a:pPr lvl="0"/>
            <a:r>
              <a:rPr lang="de-DE" dirty="0"/>
              <a:t>Fakten-/Zitat durch klicken eingeben</a:t>
            </a:r>
          </a:p>
        </p:txBody>
      </p:sp>
      <p:pic>
        <p:nvPicPr>
          <p:cNvPr id="10" name="Faktenbox Schmuckbalk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3396" y="3363913"/>
            <a:ext cx="136525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5597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9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Faktenbox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Folientitel durch Klicken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95288" y="1369219"/>
            <a:ext cx="3027326" cy="31472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e-DE" dirty="0"/>
              <a:t>Inhalt durch klicken auf ein Symbol einfügen oder Text eingeben. </a:t>
            </a:r>
          </a:p>
        </p:txBody>
      </p:sp>
      <p:pic>
        <p:nvPicPr>
          <p:cNvPr id="13" name="Schmuckbild Infokasten Hintergrund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53" t="4981" r="5607" b="18337"/>
          <a:stretch/>
        </p:blipFill>
        <p:spPr bwMode="auto">
          <a:xfrm>
            <a:off x="3422613" y="1251799"/>
            <a:ext cx="5344206" cy="33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Info Überschrift"/>
          <p:cNvSpPr txBox="1"/>
          <p:nvPr userDrawn="1"/>
        </p:nvSpPr>
        <p:spPr>
          <a:xfrm>
            <a:off x="3549391" y="1445740"/>
            <a:ext cx="1022610" cy="400110"/>
          </a:xfrm>
          <a:prstGeom prst="rect">
            <a:avLst/>
          </a:prstGeom>
          <a:noFill/>
        </p:spPr>
        <p:txBody>
          <a:bodyPr wrap="square" tIns="0" bIns="0" rtlCol="0">
            <a:spAutoFit/>
          </a:bodyPr>
          <a:lstStyle/>
          <a:p>
            <a:pPr algn="l"/>
            <a:r>
              <a:rPr lang="de-DE" sz="2600" b="0" dirty="0">
                <a:solidFill>
                  <a:schemeClr val="bg1"/>
                </a:solidFill>
                <a:latin typeface="+mj-lt"/>
              </a:rPr>
              <a:t>INFO</a:t>
            </a:r>
          </a:p>
        </p:txBody>
      </p:sp>
      <p:sp>
        <p:nvSpPr>
          <p:cNvPr id="17" name="Info Inhalt"/>
          <p:cNvSpPr>
            <a:spLocks noGrp="1"/>
          </p:cNvSpPr>
          <p:nvPr>
            <p:ph type="body" sz="quarter" idx="14" hasCustomPrompt="1"/>
          </p:nvPr>
        </p:nvSpPr>
        <p:spPr>
          <a:xfrm>
            <a:off x="3568847" y="1965324"/>
            <a:ext cx="5106841" cy="2551113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Fakten als Text eingeb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603721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da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>
          <a:xfrm>
            <a:off x="395286" y="864000"/>
            <a:ext cx="5040000" cy="360099"/>
          </a:xfrm>
        </p:spPr>
        <p:txBody>
          <a:bodyPr/>
          <a:lstStyle/>
          <a:p>
            <a:r>
              <a:rPr lang="de-DE" sz="2600" dirty="0">
                <a:latin typeface="+mj-lt"/>
              </a:rPr>
              <a:t>Ihr Ansprechpartn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43050"/>
            <a:ext cx="5040000" cy="2973388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318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Hans Mustermann</a:t>
            </a:r>
          </a:p>
          <a:p>
            <a:pPr lvl="0"/>
            <a:r>
              <a:rPr lang="de-DE" dirty="0"/>
              <a:t>Referat XX </a:t>
            </a:r>
            <a:r>
              <a:rPr lang="de-DE" dirty="0" err="1"/>
              <a:t>XX</a:t>
            </a:r>
            <a:endParaRPr lang="de-DE" dirty="0"/>
          </a:p>
          <a:p>
            <a:pPr lvl="0"/>
            <a:r>
              <a:rPr lang="de-DE" dirty="0"/>
              <a:t>Blindtextstraße 135</a:t>
            </a:r>
          </a:p>
          <a:p>
            <a:pPr lvl="0"/>
            <a:r>
              <a:rPr lang="de-DE" dirty="0"/>
              <a:t>12345 Musterstadt</a:t>
            </a:r>
          </a:p>
          <a:p>
            <a:pPr lvl="0"/>
            <a:endParaRPr lang="de-DE" dirty="0"/>
          </a:p>
          <a:p>
            <a:pPr lvl="0"/>
            <a:r>
              <a:rPr lang="de-DE" dirty="0"/>
              <a:t>hans.mustermann@dwd.de</a:t>
            </a:r>
          </a:p>
          <a:p>
            <a:pPr lvl="0"/>
            <a:r>
              <a:rPr lang="de-DE" dirty="0"/>
              <a:t>Tel.: +49 (0) 6789 / 10 11 -12</a:t>
            </a:r>
          </a:p>
        </p:txBody>
      </p:sp>
      <p:pic>
        <p:nvPicPr>
          <p:cNvPr id="10" name="Schmuckbild" descr="Das Bild soll zur Kontaktaufnahme anregen und zeigt Tippende Finger auf einem Laptop, Eine Hand an einem Telefonhörer und eine Dame beim Telefonieren." title="Schmuckbild zur Kontaktaufnahm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977" y="915988"/>
            <a:ext cx="2776711" cy="360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024-09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58FC84-22FA-4F5E-86B7-A7761BE44B02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412832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-6410"/>
            <a:ext cx="9162000" cy="5157000"/>
          </a:xfrm>
          <a:prstGeom prst="rect">
            <a:avLst/>
          </a:prstGeom>
          <a:solidFill>
            <a:srgbClr val="7D6E5F">
              <a:lumMod val="60000"/>
              <a:lumOff val="4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100" b="0" i="0" u="none" strike="noStrike" kern="0" cap="none" spc="0" normalizeH="0" baseline="0" noProof="0" dirty="0">
              <a:ln>
                <a:noFill/>
              </a:ln>
              <a:solidFill>
                <a:srgbClr val="B4A89C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532413" y="1808163"/>
            <a:ext cx="6081933" cy="2133875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de-CH"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Statement Arial normal 18. </a:t>
            </a:r>
            <a:r>
              <a:rPr lang="en-GB" noProof="0" dirty="0" err="1"/>
              <a:t>Feugiamet</a:t>
            </a:r>
            <a:r>
              <a:rPr lang="en-GB" noProof="0" dirty="0"/>
              <a:t> ad </a:t>
            </a:r>
            <a:r>
              <a:rPr lang="en-GB" noProof="0" dirty="0" err="1"/>
              <a:t>delisl</a:t>
            </a:r>
            <a:r>
              <a:rPr lang="en-GB" noProof="0" dirty="0"/>
              <a:t> in </a:t>
            </a:r>
            <a:r>
              <a:rPr lang="en-GB" noProof="0" dirty="0" err="1"/>
              <a:t>hent</a:t>
            </a:r>
            <a:r>
              <a:rPr lang="en-GB" noProof="0" dirty="0"/>
              <a:t> ad </a:t>
            </a:r>
            <a:r>
              <a:rPr lang="en-GB" noProof="0" dirty="0" err="1"/>
              <a:t>estion</a:t>
            </a:r>
            <a:r>
              <a:rPr lang="en-GB" noProof="0" dirty="0"/>
              <a:t> </a:t>
            </a:r>
            <a:r>
              <a:rPr lang="en-GB" noProof="0" dirty="0" err="1"/>
              <a:t>hent</a:t>
            </a:r>
            <a:r>
              <a:rPr lang="en-GB" noProof="0" dirty="0"/>
              <a:t> prat </a:t>
            </a:r>
            <a:r>
              <a:rPr lang="en-GB" noProof="0" dirty="0" err="1"/>
              <a:t>lortincilit</a:t>
            </a:r>
            <a:r>
              <a:rPr lang="en-GB" noProof="0" dirty="0"/>
              <a:t> </a:t>
            </a:r>
            <a:r>
              <a:rPr lang="en-GB" noProof="0" dirty="0" err="1"/>
              <a:t>utem</a:t>
            </a:r>
            <a:r>
              <a:rPr lang="en-GB" noProof="0" dirty="0"/>
              <a:t> </a:t>
            </a:r>
            <a:r>
              <a:rPr lang="en-GB" noProof="0" dirty="0" err="1"/>
              <a:t>doloreet</a:t>
            </a:r>
            <a:r>
              <a:rPr lang="en-GB" noProof="0" dirty="0"/>
              <a:t> </a:t>
            </a:r>
            <a:r>
              <a:rPr lang="en-GB" noProof="0" dirty="0" err="1"/>
              <a:t>alisis</a:t>
            </a:r>
            <a:r>
              <a:rPr lang="en-GB" noProof="0" dirty="0"/>
              <a:t> </a:t>
            </a:r>
            <a:r>
              <a:rPr lang="en-GB" noProof="0" dirty="0" err="1"/>
              <a:t>auguerc</a:t>
            </a:r>
            <a:r>
              <a:rPr lang="en-GB" noProof="0" dirty="0"/>
              <a:t> </a:t>
            </a:r>
            <a:r>
              <a:rPr lang="en-GB" noProof="0" dirty="0" err="1"/>
              <a:t>iliquatum</a:t>
            </a:r>
            <a:r>
              <a:rPr lang="en-GB" noProof="0" dirty="0"/>
              <a:t> </a:t>
            </a:r>
            <a:r>
              <a:rPr lang="en-GB" noProof="0" dirty="0" err="1"/>
              <a:t>euipsuscilis</a:t>
            </a:r>
            <a:r>
              <a:rPr lang="en-GB" noProof="0" dirty="0"/>
              <a:t> </a:t>
            </a:r>
            <a:r>
              <a:rPr lang="en-GB" noProof="0" dirty="0" err="1"/>
              <a:t>augue</a:t>
            </a:r>
            <a:r>
              <a:rPr lang="en-GB" noProof="0" dirty="0"/>
              <a:t> do </a:t>
            </a:r>
            <a:r>
              <a:rPr lang="en-GB" noProof="0" dirty="0" err="1"/>
              <a:t>consequipis</a:t>
            </a:r>
            <a:r>
              <a:rPr lang="en-GB" noProof="0" dirty="0"/>
              <a:t> </a:t>
            </a:r>
            <a:r>
              <a:rPr lang="en-GB" noProof="0" dirty="0" err="1"/>
              <a:t>nulputpat</a:t>
            </a:r>
            <a:r>
              <a:rPr lang="en-GB" noProof="0" dirty="0"/>
              <a:t> </a:t>
            </a:r>
            <a:r>
              <a:rPr lang="en-GB" noProof="0" dirty="0" err="1"/>
              <a:t>lum</a:t>
            </a:r>
            <a:r>
              <a:rPr lang="en-GB" noProof="0" dirty="0"/>
              <a:t> </a:t>
            </a:r>
            <a:r>
              <a:rPr lang="en-GB" noProof="0" dirty="0" err="1"/>
              <a:t>dolobore</a:t>
            </a:r>
            <a:r>
              <a:rPr lang="en-GB" noProof="0" dirty="0"/>
              <a:t> </a:t>
            </a:r>
            <a:r>
              <a:rPr lang="en-GB" noProof="0" dirty="0" err="1"/>
              <a:t>diodolorem</a:t>
            </a:r>
            <a:r>
              <a:rPr lang="en-GB" noProof="0" dirty="0"/>
              <a:t> </a:t>
            </a:r>
            <a:r>
              <a:rPr lang="en-GB" noProof="0" dirty="0" err="1"/>
              <a:t>nullam</a:t>
            </a:r>
            <a:r>
              <a:rPr lang="en-GB" noProof="0" dirty="0"/>
              <a:t>, </a:t>
            </a:r>
            <a:r>
              <a:rPr lang="en-GB" noProof="0" dirty="0" err="1"/>
              <a:t>susting</a:t>
            </a:r>
            <a:r>
              <a:rPr lang="en-GB" noProof="0" dirty="0"/>
              <a:t> </a:t>
            </a:r>
            <a:r>
              <a:rPr lang="en-GB" noProof="0" dirty="0" err="1"/>
              <a:t>eumsan</a:t>
            </a:r>
            <a:r>
              <a:rPr lang="en-GB" noProof="0" dirty="0"/>
              <a:t> </a:t>
            </a:r>
            <a:r>
              <a:rPr lang="en-GB" noProof="0" dirty="0" err="1"/>
              <a:t>veliquismod</a:t>
            </a:r>
            <a:r>
              <a:rPr lang="en-GB" noProof="0" dirty="0"/>
              <a:t> </a:t>
            </a:r>
            <a:r>
              <a:rPr lang="en-GB" noProof="0" dirty="0" err="1"/>
              <a:t>mincin</a:t>
            </a:r>
            <a:r>
              <a:rPr lang="en-GB" noProof="0" dirty="0"/>
              <a:t> </a:t>
            </a:r>
            <a:r>
              <a:rPr lang="en-GB" noProof="0" dirty="0" err="1"/>
              <a:t>ulluptat</a:t>
            </a:r>
            <a:r>
              <a:rPr lang="en-GB" noProof="0" dirty="0"/>
              <a:t>. </a:t>
            </a:r>
            <a:r>
              <a:rPr lang="en-GB" noProof="0" dirty="0" err="1"/>
              <a:t>Nulla</a:t>
            </a:r>
            <a:r>
              <a:rPr lang="en-GB" noProof="0" dirty="0"/>
              <a:t> </a:t>
            </a:r>
            <a:r>
              <a:rPr lang="en-GB" noProof="0" dirty="0" err="1"/>
              <a:t>commy</a:t>
            </a:r>
            <a:r>
              <a:rPr lang="en-GB" noProof="0" dirty="0"/>
              <a:t> </a:t>
            </a:r>
            <a:r>
              <a:rPr lang="en-GB" noProof="0" dirty="0" err="1"/>
              <a:t>niam</a:t>
            </a:r>
            <a:r>
              <a:rPr lang="en-GB" noProof="0" dirty="0"/>
              <a:t>, </a:t>
            </a:r>
            <a:r>
              <a:rPr lang="en-GB" noProof="0" dirty="0" err="1"/>
              <a:t>quismodit</a:t>
            </a:r>
            <a:r>
              <a:rPr lang="en-GB" noProof="0" dirty="0"/>
              <a:t> </a:t>
            </a:r>
            <a:r>
              <a:rPr lang="en-GB" noProof="0" dirty="0" err="1"/>
              <a:t>irilit</a:t>
            </a:r>
            <a:r>
              <a:rPr lang="en-GB" noProof="0" dirty="0"/>
              <a:t> </a:t>
            </a:r>
            <a:r>
              <a:rPr lang="en-GB" noProof="0" dirty="0" err="1"/>
              <a:t>incinim</a:t>
            </a:r>
            <a:r>
              <a:rPr lang="en-GB" noProof="0" dirty="0"/>
              <a:t> </a:t>
            </a:r>
            <a:r>
              <a:rPr lang="en-GB" noProof="0" dirty="0" err="1"/>
              <a:t>velisi</a:t>
            </a:r>
            <a:r>
              <a:rPr lang="en-GB" noProof="0" dirty="0"/>
              <a:t> </a:t>
            </a:r>
            <a:r>
              <a:rPr lang="en-GB" noProof="0" dirty="0" err="1"/>
              <a:t>exero</a:t>
            </a:r>
            <a:r>
              <a:rPr lang="en-GB" noProof="0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296327975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37625"/>
            <a:ext cx="7772400" cy="1102519"/>
          </a:xfrm>
        </p:spPr>
        <p:txBody>
          <a:bodyPr/>
          <a:lstStyle>
            <a:lvl1pPr>
              <a:defRPr sz="3600">
                <a:solidFill>
                  <a:srgbClr val="3E7DB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754455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1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2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4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5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8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91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324661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">
            <a:extLst>
              <a:ext uri="{FF2B5EF4-FFF2-40B4-BE49-F238E27FC236}">
                <a16:creationId xmlns:a16="http://schemas.microsoft.com/office/drawing/2014/main" id="{0C53CEB4-7CD6-8F4A-B369-0FD8AC5BC77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125730"/>
            <a:ext cx="1835150" cy="437198"/>
            <a:chOff x="7430611" y="6274242"/>
            <a:chExt cx="1835696" cy="583758"/>
          </a:xfrm>
        </p:grpSpPr>
        <p:sp>
          <p:nvSpPr>
            <p:cNvPr id="4" name="Rectangle 16">
              <a:extLst>
                <a:ext uri="{FF2B5EF4-FFF2-40B4-BE49-F238E27FC236}">
                  <a16:creationId xmlns:a16="http://schemas.microsoft.com/office/drawing/2014/main" id="{84A69E5C-EA45-4041-BEF1-8D99F60E05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377043" y="6382982"/>
              <a:ext cx="309655" cy="3586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endParaRPr lang="en-GB" altLang="de-DE" sz="1620">
                <a:solidFill>
                  <a:prstClr val="black"/>
                </a:solidFill>
              </a:endParaRPr>
            </a:p>
          </p:txBody>
        </p:sp>
        <p:grpSp>
          <p:nvGrpSpPr>
            <p:cNvPr id="5" name="Gruppieren 6">
              <a:extLst>
                <a:ext uri="{FF2B5EF4-FFF2-40B4-BE49-F238E27FC236}">
                  <a16:creationId xmlns:a16="http://schemas.microsoft.com/office/drawing/2014/main" id="{5933B6DC-A289-634A-9BCB-30A5EC2CC260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7430611" y="6274242"/>
              <a:ext cx="1835696" cy="583758"/>
              <a:chOff x="91938" y="212413"/>
              <a:chExt cx="2417151" cy="768662"/>
            </a:xfrm>
          </p:grpSpPr>
          <p:pic>
            <p:nvPicPr>
              <p:cNvPr id="8" name="Picture 5" descr="C:\Users\m221011\Desktop\HDCP Webseite\logo_hdcp2_print.png">
                <a:extLst>
                  <a:ext uri="{FF2B5EF4-FFF2-40B4-BE49-F238E27FC236}">
                    <a16:creationId xmlns:a16="http://schemas.microsoft.com/office/drawing/2014/main" id="{B8DE3AD9-F9DB-DA40-BB69-2632384D70C6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1938" y="212413"/>
                <a:ext cx="2417151" cy="7686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" name="Rechteck 9">
                <a:extLst>
                  <a:ext uri="{FF2B5EF4-FFF2-40B4-BE49-F238E27FC236}">
                    <a16:creationId xmlns:a16="http://schemas.microsoft.com/office/drawing/2014/main" id="{D5CC3481-25DE-2147-BBF9-50C9DB622375}"/>
                  </a:ext>
                </a:extLst>
              </p:cNvPr>
              <p:cNvSpPr/>
              <p:nvPr/>
            </p:nvSpPr>
            <p:spPr>
              <a:xfrm>
                <a:off x="1093509" y="549017"/>
                <a:ext cx="1405126" cy="32404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e-DE" sz="162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6" name="Rechteck 10">
              <a:extLst>
                <a:ext uri="{FF2B5EF4-FFF2-40B4-BE49-F238E27FC236}">
                  <a16:creationId xmlns:a16="http://schemas.microsoft.com/office/drawing/2014/main" id="{A3A47CC5-BDD3-414B-BD38-B66FAD085011}"/>
                </a:ext>
              </a:extLst>
            </p:cNvPr>
            <p:cNvSpPr/>
            <p:nvPr userDrawn="1"/>
          </p:nvSpPr>
          <p:spPr>
            <a:xfrm>
              <a:off x="8064212" y="6579475"/>
              <a:ext cx="482744" cy="2575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1620">
                <a:solidFill>
                  <a:prstClr val="white"/>
                </a:solidFill>
              </a:endParaRPr>
            </a:p>
          </p:txBody>
        </p:sp>
        <p:sp>
          <p:nvSpPr>
            <p:cNvPr id="7" name="Textfeld 14">
              <a:extLst>
                <a:ext uri="{FF2B5EF4-FFF2-40B4-BE49-F238E27FC236}">
                  <a16:creationId xmlns:a16="http://schemas.microsoft.com/office/drawing/2014/main" id="{034C7B66-6020-824B-9726-1CEF61648951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7968934" y="6573752"/>
              <a:ext cx="862268" cy="284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>
              <a:lvl1pPr defTabSz="457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37931725" indent="-37474525" defTabSz="457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de-DE" altLang="en-DE" sz="900">
                  <a:solidFill>
                    <a:srgbClr val="7F7F7F"/>
                  </a:solidFill>
                </a:rPr>
                <a:t>hdcp2.eu</a:t>
              </a:r>
            </a:p>
            <a:p>
              <a:pPr eaLnBrk="1" hangingPunct="1"/>
              <a:endParaRPr lang="de-DE" altLang="en-DE" sz="900">
                <a:solidFill>
                  <a:srgbClr val="7F7F7F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37672" y="60471"/>
            <a:ext cx="7194047" cy="421556"/>
          </a:xfrm>
        </p:spPr>
        <p:txBody>
          <a:bodyPr/>
          <a:lstStyle>
            <a:lvl1pPr marL="0" marR="0" indent="0" algn="l" defTabSz="8229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16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686694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">
            <a:extLst>
              <a:ext uri="{FF2B5EF4-FFF2-40B4-BE49-F238E27FC236}">
                <a16:creationId xmlns:a16="http://schemas.microsoft.com/office/drawing/2014/main" id="{509FF90C-2FA8-FC4D-BA92-5C81403F231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125730"/>
            <a:ext cx="1835150" cy="437198"/>
            <a:chOff x="7430611" y="6274242"/>
            <a:chExt cx="1835696" cy="583758"/>
          </a:xfrm>
        </p:grpSpPr>
        <p:sp>
          <p:nvSpPr>
            <p:cNvPr id="5" name="Rectangle 16">
              <a:extLst>
                <a:ext uri="{FF2B5EF4-FFF2-40B4-BE49-F238E27FC236}">
                  <a16:creationId xmlns:a16="http://schemas.microsoft.com/office/drawing/2014/main" id="{423516B8-C845-D742-92A9-EF54DDA60D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377043" y="6382982"/>
              <a:ext cx="309655" cy="3586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endParaRPr lang="en-GB" altLang="de-DE" sz="1620">
                <a:solidFill>
                  <a:prstClr val="black"/>
                </a:solidFill>
              </a:endParaRPr>
            </a:p>
          </p:txBody>
        </p:sp>
        <p:grpSp>
          <p:nvGrpSpPr>
            <p:cNvPr id="6" name="Gruppieren 6">
              <a:extLst>
                <a:ext uri="{FF2B5EF4-FFF2-40B4-BE49-F238E27FC236}">
                  <a16:creationId xmlns:a16="http://schemas.microsoft.com/office/drawing/2014/main" id="{9FAEB01D-0D64-8B49-A97B-1E3424EFCC6A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7430611" y="6274242"/>
              <a:ext cx="1835696" cy="583758"/>
              <a:chOff x="91938" y="212413"/>
              <a:chExt cx="2417151" cy="768662"/>
            </a:xfrm>
          </p:grpSpPr>
          <p:pic>
            <p:nvPicPr>
              <p:cNvPr id="9" name="Picture 5" descr="C:\Users\m221011\Desktop\HDCP Webseite\logo_hdcp2_print.png">
                <a:extLst>
                  <a:ext uri="{FF2B5EF4-FFF2-40B4-BE49-F238E27FC236}">
                    <a16:creationId xmlns:a16="http://schemas.microsoft.com/office/drawing/2014/main" id="{99FD49D1-ACF0-0841-A25D-7285C71F26B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1938" y="212413"/>
                <a:ext cx="2417151" cy="7686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" name="Rechteck 11">
                <a:extLst>
                  <a:ext uri="{FF2B5EF4-FFF2-40B4-BE49-F238E27FC236}">
                    <a16:creationId xmlns:a16="http://schemas.microsoft.com/office/drawing/2014/main" id="{70F8CD2D-0E28-814B-B574-BC4130016D2E}"/>
                  </a:ext>
                </a:extLst>
              </p:cNvPr>
              <p:cNvSpPr/>
              <p:nvPr/>
            </p:nvSpPr>
            <p:spPr>
              <a:xfrm>
                <a:off x="1093509" y="549017"/>
                <a:ext cx="1405126" cy="32404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e-DE" sz="162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7" name="Rechteck 10">
              <a:extLst>
                <a:ext uri="{FF2B5EF4-FFF2-40B4-BE49-F238E27FC236}">
                  <a16:creationId xmlns:a16="http://schemas.microsoft.com/office/drawing/2014/main" id="{748171DE-C7F3-554C-B5EC-8018503454C0}"/>
                </a:ext>
              </a:extLst>
            </p:cNvPr>
            <p:cNvSpPr/>
            <p:nvPr userDrawn="1"/>
          </p:nvSpPr>
          <p:spPr>
            <a:xfrm>
              <a:off x="8064212" y="6579475"/>
              <a:ext cx="482744" cy="2575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e-DE" sz="1620">
                <a:solidFill>
                  <a:prstClr val="white"/>
                </a:solidFill>
              </a:endParaRPr>
            </a:p>
          </p:txBody>
        </p:sp>
        <p:sp>
          <p:nvSpPr>
            <p:cNvPr id="8" name="Textfeld 14">
              <a:extLst>
                <a:ext uri="{FF2B5EF4-FFF2-40B4-BE49-F238E27FC236}">
                  <a16:creationId xmlns:a16="http://schemas.microsoft.com/office/drawing/2014/main" id="{7510B299-6AB4-E941-9CB1-4280BA1AE636}"/>
                </a:ext>
              </a:extLst>
            </p:cNvPr>
            <p:cNvSpPr txBox="1">
              <a:spLocks noChangeArrowheads="1"/>
            </p:cNvSpPr>
            <p:nvPr userDrawn="1"/>
          </p:nvSpPr>
          <p:spPr bwMode="auto">
            <a:xfrm>
              <a:off x="7968934" y="6573752"/>
              <a:ext cx="862268" cy="284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>
              <a:lvl1pPr defTabSz="457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37931725" indent="-37474525" defTabSz="4572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r>
                <a:rPr lang="de-DE" altLang="en-DE" sz="900">
                  <a:solidFill>
                    <a:srgbClr val="7F7F7F"/>
                  </a:solidFill>
                </a:rPr>
                <a:t>hdcp2.eu</a:t>
              </a:r>
            </a:p>
            <a:p>
              <a:pPr eaLnBrk="1" hangingPunct="1"/>
              <a:endParaRPr lang="de-DE" altLang="en-DE" sz="900">
                <a:solidFill>
                  <a:srgbClr val="7F7F7F"/>
                </a:solidFill>
              </a:endParaRPr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637672" y="60471"/>
            <a:ext cx="7194047" cy="421556"/>
          </a:xfrm>
        </p:spPr>
        <p:txBody>
          <a:bodyPr/>
          <a:lstStyle>
            <a:lvl1pPr marL="0" marR="0" indent="0" algn="l" defTabSz="8229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16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836591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5" descr="MPIM_SF.pdf">
            <a:extLst>
              <a:ext uri="{FF2B5EF4-FFF2-40B4-BE49-F238E27FC236}">
                <a16:creationId xmlns:a16="http://schemas.microsoft.com/office/drawing/2014/main" id="{9984AF17-6A7D-2544-851F-C2E7249A97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14" y="258604"/>
            <a:ext cx="1704975" cy="30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12" descr="K:\Deutscher Wetterdienst\Corporate Design Aktuell\DWD-Logo-Komplett\20mm\RGB\Wortbildmarke mit Claim\bmp\Wortbildmarke-und-Claim-positiv-auf-weiss.bmp">
            <a:extLst>
              <a:ext uri="{FF2B5EF4-FFF2-40B4-BE49-F238E27FC236}">
                <a16:creationId xmlns:a16="http://schemas.microsoft.com/office/drawing/2014/main" id="{AEA3B52D-3E8F-F648-A31D-2A31717F33A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1476" y="91440"/>
            <a:ext cx="2295525" cy="460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54142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F5BB09-47EA-4A1E-B860-7FEE7E642F5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5/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2F14E6-43B3-403B-8756-DE3536C35D1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28307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5" descr="MPIM_SF.pdf">
            <a:extLst>
              <a:ext uri="{FF2B5EF4-FFF2-40B4-BE49-F238E27FC236}">
                <a16:creationId xmlns:a16="http://schemas.microsoft.com/office/drawing/2014/main" id="{9D65EE37-F076-1141-8801-68A255285D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14" y="317183"/>
            <a:ext cx="1374775" cy="241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37669" y="60471"/>
            <a:ext cx="6877768" cy="421556"/>
          </a:xfrm>
        </p:spPr>
        <p:txBody>
          <a:bodyPr/>
          <a:lstStyle>
            <a:lvl1pPr marL="0" marR="0" indent="0" algn="l" defTabSz="8229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16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34798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14354" y="87474"/>
            <a:ext cx="7194047" cy="421556"/>
          </a:xfrm>
        </p:spPr>
        <p:txBody>
          <a:bodyPr/>
          <a:lstStyle>
            <a:lvl1pPr marL="0" marR="0" indent="0" algn="l" defTabSz="8229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216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405371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4">
            <a:extLst>
              <a:ext uri="{FF2B5EF4-FFF2-40B4-BE49-F238E27FC236}">
                <a16:creationId xmlns:a16="http://schemas.microsoft.com/office/drawing/2014/main" id="{DFE6BB48-EB27-C547-8363-570C1731C7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" y="254318"/>
            <a:ext cx="6696075" cy="507831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de-DE" altLang="de-DE" sz="2700">
                <a:solidFill>
                  <a:srgbClr val="FFFFFF"/>
                </a:solidFill>
                <a:latin typeface="Arial Black" pitchFamily="34" charset="0"/>
                <a:ea typeface="ＭＳ Ｐゴシック" pitchFamily="-109" charset="-128"/>
              </a:rPr>
              <a:t>Deutscher Wetterdienst</a:t>
            </a:r>
          </a:p>
        </p:txBody>
      </p:sp>
      <p:sp>
        <p:nvSpPr>
          <p:cNvPr id="3" name="Line 5">
            <a:extLst>
              <a:ext uri="{FF2B5EF4-FFF2-40B4-BE49-F238E27FC236}">
                <a16:creationId xmlns:a16="http://schemas.microsoft.com/office/drawing/2014/main" id="{C12E8218-21C3-9241-957F-3F3232E76469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790099"/>
            <a:ext cx="9144000" cy="0"/>
          </a:xfrm>
          <a:prstGeom prst="line">
            <a:avLst/>
          </a:prstGeom>
          <a:noFill/>
          <a:ln w="2222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620">
              <a:latin typeface="Arial" pitchFamily="4" charset="0"/>
              <a:ea typeface="ＭＳ Ｐゴシック" pitchFamily="4" charset="-128"/>
              <a:cs typeface="ＭＳ Ｐゴシック" pitchFamily="4" charset="-128"/>
            </a:endParaRPr>
          </a:p>
        </p:txBody>
      </p:sp>
      <p:pic>
        <p:nvPicPr>
          <p:cNvPr id="4" name="Picture 9">
            <a:extLst>
              <a:ext uri="{FF2B5EF4-FFF2-40B4-BE49-F238E27FC236}">
                <a16:creationId xmlns:a16="http://schemas.microsoft.com/office/drawing/2014/main" id="{96B2EFC9-6C26-6140-801B-166812A5F2C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9" y="141447"/>
            <a:ext cx="1584325" cy="551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en 12">
            <a:extLst>
              <a:ext uri="{FF2B5EF4-FFF2-40B4-BE49-F238E27FC236}">
                <a16:creationId xmlns:a16="http://schemas.microsoft.com/office/drawing/2014/main" id="{55096ED9-A193-9945-9BAC-C9140990DFA4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84175" y="1260158"/>
            <a:ext cx="9023136" cy="2199239"/>
            <a:chOff x="668710" y="2874422"/>
            <a:chExt cx="9023346" cy="2933238"/>
          </a:xfrm>
        </p:grpSpPr>
        <p:pic>
          <p:nvPicPr>
            <p:cNvPr id="6" name="Grafik 10">
              <a:extLst>
                <a:ext uri="{FF2B5EF4-FFF2-40B4-BE49-F238E27FC236}">
                  <a16:creationId xmlns:a16="http://schemas.microsoft.com/office/drawing/2014/main" id="{D98F5109-CA29-C846-A748-D958487077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70683" y="3573777"/>
              <a:ext cx="3017907" cy="1583551"/>
            </a:xfrm>
            <a:prstGeom prst="rect">
              <a:avLst/>
            </a:prstGeom>
            <a:gradFill>
              <a:gsLst>
                <a:gs pos="0">
                  <a:schemeClr val="accent1">
                    <a:shade val="51000"/>
                    <a:satMod val="130000"/>
                  </a:schemeClr>
                </a:gs>
                <a:gs pos="33000">
                  <a:schemeClr val="accent1">
                    <a:shade val="93000"/>
                    <a:satMod val="130000"/>
                  </a:schemeClr>
                </a:gs>
                <a:gs pos="100000">
                  <a:srgbClr val="C00000"/>
                </a:gs>
              </a:gsLst>
              <a:lin ang="13500000" scaled="1"/>
            </a:gradFill>
          </p:spPr>
        </p:pic>
        <p:sp>
          <p:nvSpPr>
            <p:cNvPr id="7" name="Textfeld 11">
              <a:extLst>
                <a:ext uri="{FF2B5EF4-FFF2-40B4-BE49-F238E27FC236}">
                  <a16:creationId xmlns:a16="http://schemas.microsoft.com/office/drawing/2014/main" id="{7D4D2ECE-BF0C-F04E-BA45-03EE348181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19645" y="4860054"/>
              <a:ext cx="4624194" cy="71426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88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GAS PHASE CHEMISTRY</a:t>
              </a:r>
            </a:p>
          </p:txBody>
        </p:sp>
        <p:sp>
          <p:nvSpPr>
            <p:cNvPr id="8" name="Textfeld 12">
              <a:extLst>
                <a:ext uri="{FF2B5EF4-FFF2-40B4-BE49-F238E27FC236}">
                  <a16:creationId xmlns:a16="http://schemas.microsoft.com/office/drawing/2014/main" id="{9CABAE40-ACD8-9746-885D-1B394114E78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17063" y="4004442"/>
              <a:ext cx="4074993" cy="71426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88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AEROSOL DYNAMICS</a:t>
              </a:r>
            </a:p>
          </p:txBody>
        </p:sp>
        <p:sp>
          <p:nvSpPr>
            <p:cNvPr id="9" name="Textfeld 13">
              <a:extLst>
                <a:ext uri="{FF2B5EF4-FFF2-40B4-BE49-F238E27FC236}">
                  <a16:creationId xmlns:a16="http://schemas.microsoft.com/office/drawing/2014/main" id="{A04F2E67-B0AE-A349-88E5-669DC93C3D6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18650" y="3280315"/>
              <a:ext cx="1634075" cy="60343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3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SEA SALT</a:t>
              </a:r>
            </a:p>
          </p:txBody>
        </p:sp>
        <p:sp>
          <p:nvSpPr>
            <p:cNvPr id="10" name="Textfeld 14">
              <a:extLst>
                <a:ext uri="{FF2B5EF4-FFF2-40B4-BE49-F238E27FC236}">
                  <a16:creationId xmlns:a16="http://schemas.microsoft.com/office/drawing/2014/main" id="{68726DA5-D121-334C-9230-814D23DAEE1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26662" y="3514703"/>
              <a:ext cx="2621869" cy="64037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5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MINERAL DUST</a:t>
              </a:r>
            </a:p>
          </p:txBody>
        </p:sp>
        <p:sp>
          <p:nvSpPr>
            <p:cNvPr id="11" name="Textfeld 15">
              <a:extLst>
                <a:ext uri="{FF2B5EF4-FFF2-40B4-BE49-F238E27FC236}">
                  <a16:creationId xmlns:a16="http://schemas.microsoft.com/office/drawing/2014/main" id="{0A1256A1-A317-244E-9EE9-57AE011FE44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53576" y="4273130"/>
              <a:ext cx="1632088" cy="64037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5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SULFATE</a:t>
              </a:r>
            </a:p>
          </p:txBody>
        </p:sp>
        <p:sp>
          <p:nvSpPr>
            <p:cNvPr id="12" name="Textfeld 16">
              <a:extLst>
                <a:ext uri="{FF2B5EF4-FFF2-40B4-BE49-F238E27FC236}">
                  <a16:creationId xmlns:a16="http://schemas.microsoft.com/office/drawing/2014/main" id="{DEAC8FAE-5EC5-C747-8510-1A42958CEE7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02982" y="3770054"/>
              <a:ext cx="1561746" cy="64037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5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NITRATE</a:t>
              </a:r>
            </a:p>
          </p:txBody>
        </p:sp>
        <p:sp>
          <p:nvSpPr>
            <p:cNvPr id="13" name="Textfeld 17">
              <a:extLst>
                <a:ext uri="{FF2B5EF4-FFF2-40B4-BE49-F238E27FC236}">
                  <a16:creationId xmlns:a16="http://schemas.microsoft.com/office/drawing/2014/main" id="{5BA9EC41-930A-3A44-9FD1-263A68B07B5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45668" y="4736191"/>
              <a:ext cx="1853435" cy="60343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3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EMISSIONS</a:t>
              </a:r>
            </a:p>
          </p:txBody>
        </p:sp>
        <p:sp>
          <p:nvSpPr>
            <p:cNvPr id="14" name="Textfeld 18">
              <a:extLst>
                <a:ext uri="{FF2B5EF4-FFF2-40B4-BE49-F238E27FC236}">
                  <a16:creationId xmlns:a16="http://schemas.microsoft.com/office/drawing/2014/main" id="{039298C3-8E43-C84E-B2C5-46D07ED00EF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40624" y="3108811"/>
              <a:ext cx="1742826" cy="71426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88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CLOUDS</a:t>
              </a:r>
            </a:p>
          </p:txBody>
        </p:sp>
        <p:sp>
          <p:nvSpPr>
            <p:cNvPr id="15" name="Textfeld 19">
              <a:extLst>
                <a:ext uri="{FF2B5EF4-FFF2-40B4-BE49-F238E27FC236}">
                  <a16:creationId xmlns:a16="http://schemas.microsoft.com/office/drawing/2014/main" id="{3F02D008-57BA-634F-880B-F0D644AD4A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88072" y="5166855"/>
              <a:ext cx="1550460" cy="38176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2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SULFUR DIOXIDE</a:t>
              </a:r>
            </a:p>
          </p:txBody>
        </p:sp>
        <p:sp>
          <p:nvSpPr>
            <p:cNvPr id="16" name="Textfeld 20">
              <a:extLst>
                <a:ext uri="{FF2B5EF4-FFF2-40B4-BE49-F238E27FC236}">
                  <a16:creationId xmlns:a16="http://schemas.microsoft.com/office/drawing/2014/main" id="{FCBC5300-05A2-D643-BACF-57BDB1B8BBE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24882" y="4934373"/>
              <a:ext cx="1168937" cy="56648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1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OZONE</a:t>
              </a:r>
            </a:p>
          </p:txBody>
        </p:sp>
        <p:sp>
          <p:nvSpPr>
            <p:cNvPr id="17" name="Textfeld 21">
              <a:extLst>
                <a:ext uri="{FF2B5EF4-FFF2-40B4-BE49-F238E27FC236}">
                  <a16:creationId xmlns:a16="http://schemas.microsoft.com/office/drawing/2014/main" id="{9D14F097-44E8-D044-A5BA-77D56E8646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94837" y="4932467"/>
              <a:ext cx="2205911" cy="71426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88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RADIATION</a:t>
              </a:r>
            </a:p>
          </p:txBody>
        </p:sp>
        <p:sp>
          <p:nvSpPr>
            <p:cNvPr id="18" name="Textfeld 22">
              <a:extLst>
                <a:ext uri="{FF2B5EF4-FFF2-40B4-BE49-F238E27FC236}">
                  <a16:creationId xmlns:a16="http://schemas.microsoft.com/office/drawing/2014/main" id="{362C6186-2A6F-2749-882F-9657788FDBD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77315" y="3131679"/>
              <a:ext cx="1627150" cy="45565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6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WARM-PHASE</a:t>
              </a:r>
            </a:p>
          </p:txBody>
        </p:sp>
        <p:sp>
          <p:nvSpPr>
            <p:cNvPr id="19" name="Textfeld 23">
              <a:extLst>
                <a:ext uri="{FF2B5EF4-FFF2-40B4-BE49-F238E27FC236}">
                  <a16:creationId xmlns:a16="http://schemas.microsoft.com/office/drawing/2014/main" id="{30701090-2304-6E43-B147-1F57D6768A9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11825" y="3716695"/>
              <a:ext cx="1710765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COLD-PHASE</a:t>
              </a:r>
            </a:p>
          </p:txBody>
        </p:sp>
        <p:sp>
          <p:nvSpPr>
            <p:cNvPr id="20" name="Textfeld 24">
              <a:extLst>
                <a:ext uri="{FF2B5EF4-FFF2-40B4-BE49-F238E27FC236}">
                  <a16:creationId xmlns:a16="http://schemas.microsoft.com/office/drawing/2014/main" id="{5F715A96-0D05-5A4B-94D6-F0B7FAD24A7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16855" y="2996380"/>
              <a:ext cx="1787711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MIXED-PHASE</a:t>
              </a:r>
            </a:p>
          </p:txBody>
        </p:sp>
        <p:sp>
          <p:nvSpPr>
            <p:cNvPr id="21" name="Textfeld 25">
              <a:extLst>
                <a:ext uri="{FF2B5EF4-FFF2-40B4-BE49-F238E27FC236}">
                  <a16:creationId xmlns:a16="http://schemas.microsoft.com/office/drawing/2014/main" id="{C60D4A5E-C178-8343-8EC8-DD71E843D50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77123" y="5134460"/>
              <a:ext cx="2409690" cy="52954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98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CARBON DIOXIDE</a:t>
              </a:r>
            </a:p>
          </p:txBody>
        </p:sp>
        <p:sp>
          <p:nvSpPr>
            <p:cNvPr id="22" name="Textfeld 26">
              <a:extLst>
                <a:ext uri="{FF2B5EF4-FFF2-40B4-BE49-F238E27FC236}">
                  <a16:creationId xmlns:a16="http://schemas.microsoft.com/office/drawing/2014/main" id="{B30EAEB4-DD59-854F-8736-D3D0BFEDC0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83724" y="5210684"/>
              <a:ext cx="1505575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AMMONIUM</a:t>
              </a:r>
            </a:p>
          </p:txBody>
        </p:sp>
        <p:sp>
          <p:nvSpPr>
            <p:cNvPr id="23" name="Textfeld 27">
              <a:extLst>
                <a:ext uri="{FF2B5EF4-FFF2-40B4-BE49-F238E27FC236}">
                  <a16:creationId xmlns:a16="http://schemas.microsoft.com/office/drawing/2014/main" id="{696CFF68-89AB-1343-8F6E-729758A073D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97523" y="4734285"/>
              <a:ext cx="1556872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HYDROXIDE</a:t>
              </a:r>
            </a:p>
          </p:txBody>
        </p:sp>
        <p:sp>
          <p:nvSpPr>
            <p:cNvPr id="24" name="Textfeld 28">
              <a:extLst>
                <a:ext uri="{FF2B5EF4-FFF2-40B4-BE49-F238E27FC236}">
                  <a16:creationId xmlns:a16="http://schemas.microsoft.com/office/drawing/2014/main" id="{801E5563-80C2-394F-9915-995039124EC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06113" y="4417957"/>
              <a:ext cx="2733505" cy="64037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5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DIRECT EFFECT</a:t>
              </a:r>
            </a:p>
          </p:txBody>
        </p:sp>
        <p:sp>
          <p:nvSpPr>
            <p:cNvPr id="25" name="Textfeld 29">
              <a:extLst>
                <a:ext uri="{FF2B5EF4-FFF2-40B4-BE49-F238E27FC236}">
                  <a16:creationId xmlns:a16="http://schemas.microsoft.com/office/drawing/2014/main" id="{A7D7CDCE-1FFC-0F48-BAB8-8CD5D7762C8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64318" y="5302153"/>
              <a:ext cx="1909541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NITROGEN OXIDES</a:t>
              </a:r>
            </a:p>
          </p:txBody>
        </p:sp>
        <p:sp>
          <p:nvSpPr>
            <p:cNvPr id="26" name="Textfeld 30">
              <a:extLst>
                <a:ext uri="{FF2B5EF4-FFF2-40B4-BE49-F238E27FC236}">
                  <a16:creationId xmlns:a16="http://schemas.microsoft.com/office/drawing/2014/main" id="{1BD25CF7-AA35-AD4E-8496-57E4D3EDD5E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86484" y="3558533"/>
              <a:ext cx="2236562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INDIRECT EFFECT</a:t>
              </a:r>
            </a:p>
          </p:txBody>
        </p:sp>
        <p:sp>
          <p:nvSpPr>
            <p:cNvPr id="27" name="Textfeld 31">
              <a:extLst>
                <a:ext uri="{FF2B5EF4-FFF2-40B4-BE49-F238E27FC236}">
                  <a16:creationId xmlns:a16="http://schemas.microsoft.com/office/drawing/2014/main" id="{031597CA-5BEF-E64B-82F0-6A9424464B0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07538" y="3859616"/>
              <a:ext cx="1873955" cy="45565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6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SEDIMENTATION</a:t>
              </a:r>
            </a:p>
          </p:txBody>
        </p:sp>
        <p:sp>
          <p:nvSpPr>
            <p:cNvPr id="28" name="Textfeld 32">
              <a:extLst>
                <a:ext uri="{FF2B5EF4-FFF2-40B4-BE49-F238E27FC236}">
                  <a16:creationId xmlns:a16="http://schemas.microsoft.com/office/drawing/2014/main" id="{8872B2D7-84D3-B142-8AEB-295A34EC9E6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20401" y="4294092"/>
              <a:ext cx="1364573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WASHOUT</a:t>
              </a:r>
            </a:p>
          </p:txBody>
        </p:sp>
        <p:sp>
          <p:nvSpPr>
            <p:cNvPr id="29" name="Textfeld 33">
              <a:extLst>
                <a:ext uri="{FF2B5EF4-FFF2-40B4-BE49-F238E27FC236}">
                  <a16:creationId xmlns:a16="http://schemas.microsoft.com/office/drawing/2014/main" id="{2BA0A1EB-7713-6941-8258-38178C197E3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99096" y="4564687"/>
              <a:ext cx="1428629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DIFFUSION</a:t>
              </a:r>
            </a:p>
          </p:txBody>
        </p:sp>
        <p:sp>
          <p:nvSpPr>
            <p:cNvPr id="30" name="Textfeld 34">
              <a:extLst>
                <a:ext uri="{FF2B5EF4-FFF2-40B4-BE49-F238E27FC236}">
                  <a16:creationId xmlns:a16="http://schemas.microsoft.com/office/drawing/2014/main" id="{0E2E282C-58CD-624B-9054-04F25C1B92A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86292" y="4273130"/>
              <a:ext cx="2481828" cy="714265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88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TRANSPORT</a:t>
              </a:r>
            </a:p>
          </p:txBody>
        </p:sp>
        <p:sp>
          <p:nvSpPr>
            <p:cNvPr id="31" name="Textfeld 35">
              <a:extLst>
                <a:ext uri="{FF2B5EF4-FFF2-40B4-BE49-F238E27FC236}">
                  <a16:creationId xmlns:a16="http://schemas.microsoft.com/office/drawing/2014/main" id="{C68E4E88-1F04-9E4C-A9BF-B3D68BB9D48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84779" y="4036836"/>
              <a:ext cx="1723589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CONVECTION</a:t>
              </a:r>
            </a:p>
          </p:txBody>
        </p:sp>
        <p:sp>
          <p:nvSpPr>
            <p:cNvPr id="32" name="Textfeld 36">
              <a:extLst>
                <a:ext uri="{FF2B5EF4-FFF2-40B4-BE49-F238E27FC236}">
                  <a16:creationId xmlns:a16="http://schemas.microsoft.com/office/drawing/2014/main" id="{022E2193-30EC-6D45-979E-4E9075BA03A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23427" y="4652345"/>
              <a:ext cx="2629050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AEROSOL OPTICAL DEPTH</a:t>
              </a:r>
            </a:p>
          </p:txBody>
        </p:sp>
        <p:sp>
          <p:nvSpPr>
            <p:cNvPr id="33" name="Textfeld 37">
              <a:extLst>
                <a:ext uri="{FF2B5EF4-FFF2-40B4-BE49-F238E27FC236}">
                  <a16:creationId xmlns:a16="http://schemas.microsoft.com/office/drawing/2014/main" id="{2805DEB0-339D-BF41-8090-E31279287AC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24466" y="3888200"/>
              <a:ext cx="1444660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INTERACTION</a:t>
              </a:r>
            </a:p>
          </p:txBody>
        </p:sp>
        <p:sp>
          <p:nvSpPr>
            <p:cNvPr id="34" name="Textfeld 38">
              <a:extLst>
                <a:ext uri="{FF2B5EF4-FFF2-40B4-BE49-F238E27FC236}">
                  <a16:creationId xmlns:a16="http://schemas.microsoft.com/office/drawing/2014/main" id="{071BEC77-535D-C74D-9558-F7DE611DB5D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04392" y="4522764"/>
              <a:ext cx="1209013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FEEDBACK</a:t>
              </a:r>
            </a:p>
          </p:txBody>
        </p:sp>
        <p:sp>
          <p:nvSpPr>
            <p:cNvPr id="35" name="Textfeld 39">
              <a:extLst>
                <a:ext uri="{FF2B5EF4-FFF2-40B4-BE49-F238E27FC236}">
                  <a16:creationId xmlns:a16="http://schemas.microsoft.com/office/drawing/2014/main" id="{D6A5DBAE-7CDA-4949-9CD5-8CC45523B4A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68161" y="4315052"/>
              <a:ext cx="1826184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ANTHROPOGENIC</a:t>
              </a:r>
            </a:p>
          </p:txBody>
        </p:sp>
        <p:sp>
          <p:nvSpPr>
            <p:cNvPr id="36" name="Textfeld 40">
              <a:extLst>
                <a:ext uri="{FF2B5EF4-FFF2-40B4-BE49-F238E27FC236}">
                  <a16:creationId xmlns:a16="http://schemas.microsoft.com/office/drawing/2014/main" id="{36DB3118-C434-424D-B80E-4E623F2941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83799" y="3747185"/>
              <a:ext cx="1343669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BIOLOGICAL</a:t>
              </a:r>
            </a:p>
          </p:txBody>
        </p:sp>
        <p:sp>
          <p:nvSpPr>
            <p:cNvPr id="37" name="Textfeld 41">
              <a:extLst>
                <a:ext uri="{FF2B5EF4-FFF2-40B4-BE49-F238E27FC236}">
                  <a16:creationId xmlns:a16="http://schemas.microsoft.com/office/drawing/2014/main" id="{3A595DD2-3963-234E-91AB-FCACC23E970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00668" y="4200718"/>
              <a:ext cx="1582073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VOLCANIC ASH</a:t>
              </a:r>
            </a:p>
          </p:txBody>
        </p:sp>
        <p:sp>
          <p:nvSpPr>
            <p:cNvPr id="38" name="Textfeld 42">
              <a:extLst>
                <a:ext uri="{FF2B5EF4-FFF2-40B4-BE49-F238E27FC236}">
                  <a16:creationId xmlns:a16="http://schemas.microsoft.com/office/drawing/2014/main" id="{FEF43EE0-54A5-B24B-B096-74B2FB3C43F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1262" y="4637100"/>
              <a:ext cx="2018548" cy="38176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2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RADIOACTIVE TRACER</a:t>
              </a:r>
            </a:p>
          </p:txBody>
        </p:sp>
        <p:sp>
          <p:nvSpPr>
            <p:cNvPr id="39" name="Textfeld 43">
              <a:extLst>
                <a:ext uri="{FF2B5EF4-FFF2-40B4-BE49-F238E27FC236}">
                  <a16:creationId xmlns:a16="http://schemas.microsoft.com/office/drawing/2014/main" id="{72061905-2973-5B45-90BA-89293834666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87805" y="4711418"/>
              <a:ext cx="1938396" cy="56648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1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PHOTOLYSIS</a:t>
              </a:r>
            </a:p>
          </p:txBody>
        </p:sp>
        <p:sp>
          <p:nvSpPr>
            <p:cNvPr id="40" name="Textfeld 44">
              <a:extLst>
                <a:ext uri="{FF2B5EF4-FFF2-40B4-BE49-F238E27FC236}">
                  <a16:creationId xmlns:a16="http://schemas.microsoft.com/office/drawing/2014/main" id="{9C256957-49A9-944F-8223-94C4F1B9D6E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93413" y="5225929"/>
              <a:ext cx="1324433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DEPOSITION</a:t>
              </a:r>
            </a:p>
          </p:txBody>
        </p:sp>
        <p:sp>
          <p:nvSpPr>
            <p:cNvPr id="41" name="Textfeld 45">
              <a:extLst>
                <a:ext uri="{FF2B5EF4-FFF2-40B4-BE49-F238E27FC236}">
                  <a16:creationId xmlns:a16="http://schemas.microsoft.com/office/drawing/2014/main" id="{7B56ADDE-5ABF-EA44-B050-74FA8C7D984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8710" y="5157327"/>
              <a:ext cx="2990697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VOLATILE ORGANIC CARBONS</a:t>
              </a:r>
            </a:p>
          </p:txBody>
        </p:sp>
        <p:sp>
          <p:nvSpPr>
            <p:cNvPr id="42" name="Textfeld 46">
              <a:extLst>
                <a:ext uri="{FF2B5EF4-FFF2-40B4-BE49-F238E27FC236}">
                  <a16:creationId xmlns:a16="http://schemas.microsoft.com/office/drawing/2014/main" id="{216C0AAC-4BEA-4949-8BC0-21258F6367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16351" y="4437012"/>
              <a:ext cx="1146495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TRACER</a:t>
              </a:r>
            </a:p>
          </p:txBody>
        </p:sp>
        <p:sp>
          <p:nvSpPr>
            <p:cNvPr id="43" name="Textfeld 47">
              <a:extLst>
                <a:ext uri="{FF2B5EF4-FFF2-40B4-BE49-F238E27FC236}">
                  <a16:creationId xmlns:a16="http://schemas.microsoft.com/office/drawing/2014/main" id="{B8376483-D89C-F544-B654-5678D0152E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56292" y="3122150"/>
              <a:ext cx="1837918" cy="56648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1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ACTIVATION</a:t>
              </a:r>
            </a:p>
          </p:txBody>
        </p:sp>
        <p:sp>
          <p:nvSpPr>
            <p:cNvPr id="44" name="Textfeld 48">
              <a:extLst>
                <a:ext uri="{FF2B5EF4-FFF2-40B4-BE49-F238E27FC236}">
                  <a16:creationId xmlns:a16="http://schemas.microsoft.com/office/drawing/2014/main" id="{1665D663-4C53-7549-8CFA-FA54DD76EFD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56351" y="3306994"/>
              <a:ext cx="1379640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NUCLEATION</a:t>
              </a:r>
            </a:p>
          </p:txBody>
        </p:sp>
        <p:sp>
          <p:nvSpPr>
            <p:cNvPr id="45" name="Textfeld 49">
              <a:extLst>
                <a:ext uri="{FF2B5EF4-FFF2-40B4-BE49-F238E27FC236}">
                  <a16:creationId xmlns:a16="http://schemas.microsoft.com/office/drawing/2014/main" id="{71B152DD-8323-584E-87ED-C87C969B3C2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69066" y="3831033"/>
              <a:ext cx="461997" cy="56648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1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IN</a:t>
              </a:r>
            </a:p>
          </p:txBody>
        </p:sp>
        <p:sp>
          <p:nvSpPr>
            <p:cNvPr id="46" name="Textfeld 50">
              <a:extLst>
                <a:ext uri="{FF2B5EF4-FFF2-40B4-BE49-F238E27FC236}">
                  <a16:creationId xmlns:a16="http://schemas.microsoft.com/office/drawing/2014/main" id="{739B5214-CB30-EC44-B969-CDDDE671585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16988" y="3295559"/>
              <a:ext cx="785811" cy="56648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1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CCN</a:t>
              </a:r>
            </a:p>
          </p:txBody>
        </p:sp>
        <p:sp>
          <p:nvSpPr>
            <p:cNvPr id="47" name="Textfeld 51">
              <a:extLst>
                <a:ext uri="{FF2B5EF4-FFF2-40B4-BE49-F238E27FC236}">
                  <a16:creationId xmlns:a16="http://schemas.microsoft.com/office/drawing/2014/main" id="{44315A1E-3D46-4347-BF84-70617B7AEB4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62523" y="5241173"/>
              <a:ext cx="1956031" cy="56648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1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AIR QUALITY</a:t>
              </a:r>
            </a:p>
          </p:txBody>
        </p:sp>
        <p:sp>
          <p:nvSpPr>
            <p:cNvPr id="48" name="Textfeld 52">
              <a:extLst>
                <a:ext uri="{FF2B5EF4-FFF2-40B4-BE49-F238E27FC236}">
                  <a16:creationId xmlns:a16="http://schemas.microsoft.com/office/drawing/2014/main" id="{6F8666BF-C14A-8046-A9C6-E21D3F540C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66025" y="3358444"/>
              <a:ext cx="646346" cy="56648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1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ICE</a:t>
              </a:r>
            </a:p>
          </p:txBody>
        </p:sp>
        <p:sp>
          <p:nvSpPr>
            <p:cNvPr id="49" name="Textfeld 53">
              <a:extLst>
                <a:ext uri="{FF2B5EF4-FFF2-40B4-BE49-F238E27FC236}">
                  <a16:creationId xmlns:a16="http://schemas.microsoft.com/office/drawing/2014/main" id="{FBEEA192-9BDA-1941-92ED-ABFD0FACBD8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15075" y="3013531"/>
              <a:ext cx="1758536" cy="45565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6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PRECIPITATION</a:t>
              </a:r>
            </a:p>
          </p:txBody>
        </p:sp>
        <p:sp>
          <p:nvSpPr>
            <p:cNvPr id="50" name="Textfeld 54">
              <a:extLst>
                <a:ext uri="{FF2B5EF4-FFF2-40B4-BE49-F238E27FC236}">
                  <a16:creationId xmlns:a16="http://schemas.microsoft.com/office/drawing/2014/main" id="{96A39676-FC8E-6648-B573-6C12625A980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34185" y="3419423"/>
              <a:ext cx="919247" cy="45565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6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WATER</a:t>
              </a:r>
            </a:p>
          </p:txBody>
        </p:sp>
        <p:sp>
          <p:nvSpPr>
            <p:cNvPr id="51" name="Textfeld 55">
              <a:extLst>
                <a:ext uri="{FF2B5EF4-FFF2-40B4-BE49-F238E27FC236}">
                  <a16:creationId xmlns:a16="http://schemas.microsoft.com/office/drawing/2014/main" id="{69CE9336-7EBF-044D-B200-CF1649E3F7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51722" y="2874422"/>
              <a:ext cx="1087182" cy="41870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4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GRAUPEL</a:t>
              </a:r>
            </a:p>
          </p:txBody>
        </p:sp>
        <p:sp>
          <p:nvSpPr>
            <p:cNvPr id="52" name="Textfeld 56">
              <a:extLst>
                <a:ext uri="{FF2B5EF4-FFF2-40B4-BE49-F238E27FC236}">
                  <a16:creationId xmlns:a16="http://schemas.microsoft.com/office/drawing/2014/main" id="{58DDADA6-8CCC-6045-BD18-70EF67ADD6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21143" y="4181662"/>
              <a:ext cx="1617789" cy="45565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62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TURBULENCE</a:t>
              </a:r>
            </a:p>
          </p:txBody>
        </p:sp>
        <p:sp>
          <p:nvSpPr>
            <p:cNvPr id="53" name="Textfeld 57">
              <a:extLst>
                <a:ext uri="{FF2B5EF4-FFF2-40B4-BE49-F238E27FC236}">
                  <a16:creationId xmlns:a16="http://schemas.microsoft.com/office/drawing/2014/main" id="{CAB5318F-C500-5E44-B1BA-17310B03B7F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141098" y="4770492"/>
              <a:ext cx="1035885" cy="603432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34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SOOT</a:t>
              </a:r>
            </a:p>
          </p:txBody>
        </p:sp>
        <p:sp>
          <p:nvSpPr>
            <p:cNvPr id="54" name="Textfeld 58">
              <a:extLst>
                <a:ext uri="{FF2B5EF4-FFF2-40B4-BE49-F238E27FC236}">
                  <a16:creationId xmlns:a16="http://schemas.microsoft.com/office/drawing/2014/main" id="{A6FD415D-F619-FB46-AF88-8CC5850B8A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60208" y="4652345"/>
              <a:ext cx="1454278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WILDFIRES</a:t>
              </a:r>
            </a:p>
          </p:txBody>
        </p:sp>
        <p:sp>
          <p:nvSpPr>
            <p:cNvPr id="55" name="Textfeld 59">
              <a:extLst>
                <a:ext uri="{FF2B5EF4-FFF2-40B4-BE49-F238E27FC236}">
                  <a16:creationId xmlns:a16="http://schemas.microsoft.com/office/drawing/2014/main" id="{9854A3B2-A821-1D4A-92AF-AF019B41B8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14125" y="4966768"/>
              <a:ext cx="995385" cy="566487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216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PM10</a:t>
              </a:r>
            </a:p>
          </p:txBody>
        </p:sp>
        <p:sp>
          <p:nvSpPr>
            <p:cNvPr id="56" name="Textfeld 60">
              <a:extLst>
                <a:ext uri="{FF2B5EF4-FFF2-40B4-BE49-F238E27FC236}">
                  <a16:creationId xmlns:a16="http://schemas.microsoft.com/office/drawing/2014/main" id="{B19C1A90-D754-264B-89C2-A9C6C63D7EC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50549" y="3358444"/>
              <a:ext cx="851535" cy="492597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de-DE" altLang="de-DE" sz="1800" b="1">
                  <a:solidFill>
                    <a:srgbClr val="000000"/>
                  </a:solidFill>
                  <a:latin typeface="Arabic Typesetting" pitchFamily="66" charset="-78"/>
                  <a:ea typeface="ＭＳ Ｐゴシック" pitchFamily="-109" charset="-128"/>
                  <a:cs typeface="Arabic Typesetting" pitchFamily="66" charset="-78"/>
                </a:rPr>
                <a:t>PM2.5</a:t>
              </a:r>
            </a:p>
          </p:txBody>
        </p:sp>
      </p:grpSp>
      <p:pic>
        <p:nvPicPr>
          <p:cNvPr id="57" name="Picture 12" descr="K:\Deutscher Wetterdienst\Corporate Design Aktuell\DWD-Logo-Komplett\20mm\RGB\Wortbildmarke mit Claim\bmp\Wortbildmarke-und-Claim-positiv-auf-weiss.bmp">
            <a:extLst>
              <a:ext uri="{FF2B5EF4-FFF2-40B4-BE49-F238E27FC236}">
                <a16:creationId xmlns:a16="http://schemas.microsoft.com/office/drawing/2014/main" id="{FCB439FC-56CC-7844-98ED-E2F516F4573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4476" y="141447"/>
            <a:ext cx="2295525" cy="460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Line 23">
            <a:extLst>
              <a:ext uri="{FF2B5EF4-FFF2-40B4-BE49-F238E27FC236}">
                <a16:creationId xmlns:a16="http://schemas.microsoft.com/office/drawing/2014/main" id="{6D471944-69C3-844A-A84D-308B6CBE9BA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44476" y="4763453"/>
            <a:ext cx="8613775" cy="0"/>
          </a:xfrm>
          <a:prstGeom prst="line">
            <a:avLst/>
          </a:prstGeom>
          <a:noFill/>
          <a:ln w="15240">
            <a:solidFill>
              <a:srgbClr val="2D4B9B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620">
              <a:latin typeface="Arial" pitchFamily="4" charset="0"/>
              <a:ea typeface="ＭＳ Ｐゴシック" pitchFamily="4" charset="-128"/>
              <a:cs typeface="ＭＳ Ｐゴシック" pitchFamily="4" charset="-128"/>
            </a:endParaRPr>
          </a:p>
        </p:txBody>
      </p:sp>
      <p:pic>
        <p:nvPicPr>
          <p:cNvPr id="59" name="Picture 28" descr="Bundesadler_kleiner">
            <a:extLst>
              <a:ext uri="{FF2B5EF4-FFF2-40B4-BE49-F238E27FC236}">
                <a16:creationId xmlns:a16="http://schemas.microsoft.com/office/drawing/2014/main" id="{5BFBADCD-92A0-C64B-9023-2B3126056E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" y="4804887"/>
            <a:ext cx="446088" cy="311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79332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3">
            <a:extLst>
              <a:ext uri="{FF2B5EF4-FFF2-40B4-BE49-F238E27FC236}">
                <a16:creationId xmlns:a16="http://schemas.microsoft.com/office/drawing/2014/main" id="{C8C3F8CF-1202-6D48-B1E9-5CD0F83AFF6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" y="254318"/>
            <a:ext cx="6696075" cy="507831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de-DE" sz="2700">
                <a:solidFill>
                  <a:prstClr val="white"/>
                </a:solidFill>
                <a:latin typeface="Arial Black" pitchFamily="34" charset="0"/>
                <a:ea typeface="ＭＳ Ｐゴシック" pitchFamily="-109" charset="-128"/>
              </a:rPr>
              <a:t>Deutscher Wetterdienst</a:t>
            </a:r>
          </a:p>
        </p:txBody>
      </p:sp>
      <p:sp>
        <p:nvSpPr>
          <p:cNvPr id="3" name="Line 19">
            <a:extLst>
              <a:ext uri="{FF2B5EF4-FFF2-40B4-BE49-F238E27FC236}">
                <a16:creationId xmlns:a16="http://schemas.microsoft.com/office/drawing/2014/main" id="{E945DD11-5777-1642-9830-7C3CC3D2A38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708660"/>
            <a:ext cx="9144000" cy="0"/>
          </a:xfrm>
          <a:prstGeom prst="line">
            <a:avLst/>
          </a:prstGeom>
          <a:noFill/>
          <a:ln w="2222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620">
              <a:latin typeface="Arial" pitchFamily="4" charset="0"/>
              <a:ea typeface="ＭＳ Ｐゴシック" pitchFamily="4" charset="-128"/>
              <a:cs typeface="ＭＳ Ｐゴシック" pitchFamily="4" charset="-128"/>
            </a:endParaRPr>
          </a:p>
        </p:txBody>
      </p:sp>
      <p:pic>
        <p:nvPicPr>
          <p:cNvPr id="4" name="Picture 22" descr="DWD-BiWoCl-22-rgb_kleiner">
            <a:extLst>
              <a:ext uri="{FF2B5EF4-FFF2-40B4-BE49-F238E27FC236}">
                <a16:creationId xmlns:a16="http://schemas.microsoft.com/office/drawing/2014/main" id="{2C95E7C3-67C7-4E4B-BCFA-38E6C4CA19B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32"/>
          <a:stretch>
            <a:fillRect/>
          </a:stretch>
        </p:blipFill>
        <p:spPr bwMode="auto">
          <a:xfrm>
            <a:off x="8243889" y="75724"/>
            <a:ext cx="720725" cy="594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425994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2" descr="K:\Deutscher Wetterdienst\Corporate Design Aktuell\DWD-Logo-Komplett\20mm\RGB\Wortbildmarke mit Claim\bmp\Wortbildmarke-und-Claim-positiv-auf-weiss.bmp">
            <a:extLst>
              <a:ext uri="{FF2B5EF4-FFF2-40B4-BE49-F238E27FC236}">
                <a16:creationId xmlns:a16="http://schemas.microsoft.com/office/drawing/2014/main" id="{AD6004A5-883A-2E48-AD55-24ED2F69F6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8613" y="94298"/>
            <a:ext cx="2295525" cy="460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358259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 Pf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EE1EEC-1F3D-496F-80FE-60C0313105A3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356178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553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777"/>
              </a:spcBef>
              <a:tabLst>
                <a:tab pos="121500" algn="l"/>
                <a:tab pos="243000" algn="l"/>
                <a:tab pos="388800" algn="l"/>
              </a:tabLst>
              <a:defRPr/>
            </a:lvl1pPr>
            <a:lvl2pPr>
              <a:tabLst>
                <a:tab pos="121500" algn="l"/>
                <a:tab pos="243000" algn="l"/>
                <a:tab pos="388800" algn="l"/>
              </a:tabLst>
              <a:defRPr kern="600" spc="27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27" baseline="0">
                <a:solidFill>
                  <a:schemeClr val="tx2"/>
                </a:solidFill>
              </a:defRPr>
            </a:lvl4pPr>
            <a:lvl5pPr>
              <a:lnSpc>
                <a:spcPts val="1553"/>
              </a:lnSpc>
              <a:defRPr kern="600" spc="27" baseline="0"/>
            </a:lvl5pPr>
            <a:lvl7pPr>
              <a:defRPr/>
            </a:lvl7pPr>
            <a:lvl8pPr>
              <a:defRPr spc="81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tabLst>
                <a:tab pos="6598682" algn="r"/>
                <a:tab pos="6903005" algn="r"/>
              </a:tabLst>
            </a:pPr>
            <a:r>
              <a:rPr lang="de-DE"/>
              <a:t>Max-Planck-Institut für Meteorologie | Vorname Nachname	Kurztitel | TT.MM.JJJJ	</a:t>
            </a:r>
            <a:fld id="{4BB1897F-A1AE-4EDF-9F2D-8730C9693DB7}" type="slidenum">
              <a:rPr lang="de-DE" smtClean="0"/>
              <a:pPr>
                <a:tabLst>
                  <a:tab pos="6598682" algn="r"/>
                  <a:tab pos="6903005" algn="r"/>
                </a:tabLst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64553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1" y="1597826"/>
            <a:ext cx="7772400" cy="1102519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009" indent="0" algn="ctr">
              <a:buNone/>
              <a:defRPr/>
            </a:lvl2pPr>
            <a:lvl3pPr marL="914018" indent="0" algn="ctr">
              <a:buNone/>
              <a:defRPr/>
            </a:lvl3pPr>
            <a:lvl4pPr marL="1371028" indent="0" algn="ctr">
              <a:buNone/>
              <a:defRPr/>
            </a:lvl4pPr>
            <a:lvl5pPr marL="1828037" indent="0" algn="ctr">
              <a:buNone/>
              <a:defRPr/>
            </a:lvl5pPr>
            <a:lvl6pPr marL="2285046" indent="0" algn="ctr">
              <a:buNone/>
              <a:defRPr/>
            </a:lvl6pPr>
            <a:lvl7pPr marL="2742055" indent="0" algn="ctr">
              <a:buNone/>
              <a:defRPr/>
            </a:lvl7pPr>
            <a:lvl8pPr marL="3199065" indent="0" algn="ctr">
              <a:buNone/>
              <a:defRPr/>
            </a:lvl8pPr>
            <a:lvl9pPr marL="3656074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7836883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65489522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 Verbindung 12"/>
          <p:cNvCxnSpPr>
            <a:cxnSpLocks noChangeShapeType="1"/>
          </p:cNvCxnSpPr>
          <p:nvPr userDrawn="1"/>
        </p:nvCxnSpPr>
        <p:spPr bwMode="auto">
          <a:xfrm>
            <a:off x="395288" y="735806"/>
            <a:ext cx="8424862" cy="0"/>
          </a:xfrm>
          <a:prstGeom prst="line">
            <a:avLst/>
          </a:prstGeom>
          <a:noFill/>
          <a:ln w="25400" algn="ctr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3305182"/>
            <a:ext cx="7772400" cy="1021556"/>
          </a:xfrm>
        </p:spPr>
        <p:txBody>
          <a:bodyPr anchor="t"/>
          <a:lstStyle>
            <a:lvl1pPr algn="l">
              <a:defRPr sz="3971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23"/>
            </a:lvl1pPr>
            <a:lvl2pPr marL="457009" indent="0">
              <a:buNone/>
              <a:defRPr sz="1798"/>
            </a:lvl2pPr>
            <a:lvl3pPr marL="914018" indent="0">
              <a:buNone/>
              <a:defRPr sz="1573"/>
            </a:lvl3pPr>
            <a:lvl4pPr marL="1371028" indent="0">
              <a:buNone/>
              <a:defRPr sz="1423"/>
            </a:lvl4pPr>
            <a:lvl5pPr marL="1828037" indent="0">
              <a:buNone/>
              <a:defRPr sz="1423"/>
            </a:lvl5pPr>
            <a:lvl6pPr marL="2285046" indent="0">
              <a:buNone/>
              <a:defRPr sz="1423"/>
            </a:lvl6pPr>
            <a:lvl7pPr marL="2742055" indent="0">
              <a:buNone/>
              <a:defRPr sz="1423"/>
            </a:lvl7pPr>
            <a:lvl8pPr marL="3199065" indent="0">
              <a:buNone/>
              <a:defRPr sz="1423"/>
            </a:lvl8pPr>
            <a:lvl9pPr marL="3656074" indent="0">
              <a:buNone/>
              <a:defRPr sz="1423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35741995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7.jpe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image" Target="../media/image7.jpe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.emf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image" Target="../media/image12.jpeg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48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9144000" cy="102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152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2" r:id="rId2"/>
    <p:sldLayoutId id="2147483729" r:id="rId3"/>
    <p:sldLayoutId id="2147483730" r:id="rId4"/>
    <p:sldLayoutId id="2147483863" r:id="rId5"/>
    <p:sldLayoutId id="2147483891" r:id="rId6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•"/>
        <a:defRPr sz="21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B2B2B2"/>
        </a:buClr>
        <a:buChar char="•"/>
        <a:defRPr sz="21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C0C0C0"/>
        </a:buClr>
        <a:buChar char="•"/>
        <a:defRPr sz="21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DDDDDD"/>
        </a:buClr>
        <a:buChar char="•"/>
        <a:defRPr sz="21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DDDDDD"/>
        </a:buClr>
        <a:buChar char="•"/>
        <a:defRPr sz="21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DDDDDD"/>
        </a:buClr>
        <a:buChar char="•"/>
        <a:defRPr sz="21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DDDDDD"/>
        </a:buClr>
        <a:buChar char="•"/>
        <a:defRPr sz="21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DDDDDD"/>
        </a:buClr>
        <a:buChar char="•"/>
        <a:defRPr sz="21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16"/>
          <p:cNvSpPr>
            <a:spLocks noChangeArrowheads="1"/>
          </p:cNvSpPr>
          <p:nvPr/>
        </p:nvSpPr>
        <p:spPr bwMode="auto">
          <a:xfrm>
            <a:off x="8377238" y="4786320"/>
            <a:ext cx="309562" cy="2702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04" tIns="45702" rIns="91404" bIns="45702" anchor="ctr"/>
          <a:lstStyle/>
          <a:p>
            <a:endParaRPr lang="de-DE" sz="1573"/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1801" y="863204"/>
            <a:ext cx="8277225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1" y="1402556"/>
            <a:ext cx="8277225" cy="3238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3077" name="Line 23"/>
          <p:cNvSpPr>
            <a:spLocks noChangeShapeType="1"/>
          </p:cNvSpPr>
          <p:nvPr/>
        </p:nvSpPr>
        <p:spPr bwMode="auto">
          <a:xfrm>
            <a:off x="0" y="4763691"/>
            <a:ext cx="9144000" cy="0"/>
          </a:xfrm>
          <a:prstGeom prst="line">
            <a:avLst/>
          </a:prstGeom>
          <a:noFill/>
          <a:ln w="12700">
            <a:solidFill>
              <a:srgbClr val="2D4B9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04" tIns="45702" rIns="91404" bIns="45702"/>
          <a:lstStyle/>
          <a:p>
            <a:endParaRPr lang="de-DE" sz="1573"/>
          </a:p>
        </p:txBody>
      </p:sp>
      <p:sp>
        <p:nvSpPr>
          <p:cNvPr id="3080" name="Rectangle 16"/>
          <p:cNvSpPr>
            <a:spLocks noChangeArrowheads="1"/>
          </p:cNvSpPr>
          <p:nvPr userDrawn="1"/>
        </p:nvSpPr>
        <p:spPr bwMode="auto">
          <a:xfrm>
            <a:off x="8377238" y="4786320"/>
            <a:ext cx="309562" cy="2702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04" tIns="45702" rIns="91404" bIns="45702" anchor="ctr"/>
          <a:lstStyle/>
          <a:p>
            <a:endParaRPr lang="de-DE" sz="1573"/>
          </a:p>
        </p:txBody>
      </p:sp>
      <p:sp>
        <p:nvSpPr>
          <p:cNvPr id="3081" name="Line 23"/>
          <p:cNvSpPr>
            <a:spLocks noChangeShapeType="1"/>
          </p:cNvSpPr>
          <p:nvPr userDrawn="1"/>
        </p:nvSpPr>
        <p:spPr bwMode="auto">
          <a:xfrm>
            <a:off x="0" y="4763691"/>
            <a:ext cx="9144000" cy="0"/>
          </a:xfrm>
          <a:prstGeom prst="line">
            <a:avLst/>
          </a:prstGeom>
          <a:noFill/>
          <a:ln w="12700">
            <a:solidFill>
              <a:srgbClr val="2D4B9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04" tIns="45702" rIns="91404" bIns="45702"/>
          <a:lstStyle/>
          <a:p>
            <a:endParaRPr lang="de-DE" sz="1573"/>
          </a:p>
        </p:txBody>
      </p:sp>
      <p:pic>
        <p:nvPicPr>
          <p:cNvPr id="3082" name="Picture 28" descr="Bundesadler_kleiner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738" y="4792274"/>
            <a:ext cx="335240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3" name="Picture 38" descr="Wortbildmarke-und-Claim-positiv-transparent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7668" y="134543"/>
            <a:ext cx="1912460" cy="472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hteck 1"/>
          <p:cNvSpPr/>
          <p:nvPr userDrawn="1"/>
        </p:nvSpPr>
        <p:spPr>
          <a:xfrm>
            <a:off x="7064615" y="4825304"/>
            <a:ext cx="1688283" cy="2768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199" dirty="0"/>
              <a:t>J.</a:t>
            </a:r>
            <a:r>
              <a:rPr lang="de-DE" sz="1199" baseline="0" dirty="0"/>
              <a:t> </a:t>
            </a:r>
            <a:r>
              <a:rPr lang="de-DE" sz="1199" dirty="0"/>
              <a:t>Helmert et al.,</a:t>
            </a:r>
            <a:r>
              <a:rPr lang="de-DE" sz="1199" baseline="0" dirty="0"/>
              <a:t> 2020</a:t>
            </a:r>
            <a:endParaRPr lang="de-DE" sz="1199" dirty="0"/>
          </a:p>
        </p:txBody>
      </p:sp>
    </p:spTree>
    <p:extLst>
      <p:ext uri="{BB962C8B-B14F-4D97-AF65-F5344CB8AC3E}">
        <p14:creationId xmlns:p14="http://schemas.microsoft.com/office/powerpoint/2010/main" val="1091325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</p:sldLayoutIdLst>
  <p:transition>
    <p:fade/>
  </p:transition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Arial" charset="0"/>
        </a:defRPr>
      </a:lvl5pPr>
      <a:lvl6pPr marL="457009" algn="l" rtl="0" fontAlgn="base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Arial" charset="0"/>
        </a:defRPr>
      </a:lvl6pPr>
      <a:lvl7pPr marL="914018" algn="l" rtl="0" fontAlgn="base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Arial" charset="0"/>
        </a:defRPr>
      </a:lvl7pPr>
      <a:lvl8pPr marL="1371028" algn="l" rtl="0" fontAlgn="base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Arial" charset="0"/>
        </a:defRPr>
      </a:lvl8pPr>
      <a:lvl9pPr marL="1828037" algn="l" rtl="0" fontAlgn="base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Arial" charset="0"/>
        </a:defRPr>
      </a:lvl9pPr>
    </p:titleStyle>
    <p:bodyStyle>
      <a:lvl1pPr marL="352278" indent="-352278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l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91861" indent="-260241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2pPr>
      <a:lvl3pPr marL="1142523" indent="-228505" algn="l" rtl="0" eaLnBrk="0" fontAlgn="base" hangingPunct="0">
        <a:spcBef>
          <a:spcPct val="40000"/>
        </a:spcBef>
        <a:spcAft>
          <a:spcPct val="0"/>
        </a:spcAft>
        <a:buClr>
          <a:schemeClr val="bg2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599532" indent="-228505" algn="l" rtl="0" eaLnBrk="0" fontAlgn="base" hangingPunct="0">
        <a:spcBef>
          <a:spcPct val="40000"/>
        </a:spcBef>
        <a:spcAft>
          <a:spcPct val="0"/>
        </a:spcAft>
        <a:buClr>
          <a:schemeClr val="bg2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4pPr>
      <a:lvl5pPr marL="2056541" indent="-228505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5pPr>
      <a:lvl6pPr marL="2513550" indent="-228505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6pPr>
      <a:lvl7pPr marL="2970560" indent="-228505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7pPr>
      <a:lvl8pPr marL="3427569" indent="-228505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8pPr>
      <a:lvl9pPr marL="3884578" indent="-228505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7009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4018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8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7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6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2055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9065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6074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16"/>
          <p:cNvSpPr>
            <a:spLocks noChangeArrowheads="1"/>
          </p:cNvSpPr>
          <p:nvPr/>
        </p:nvSpPr>
        <p:spPr bwMode="auto">
          <a:xfrm>
            <a:off x="8377238" y="4786320"/>
            <a:ext cx="309562" cy="2702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04" tIns="45702" rIns="91404" bIns="45702" anchor="ctr"/>
          <a:lstStyle/>
          <a:p>
            <a:endParaRPr lang="de-DE" sz="1573"/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1801" y="863204"/>
            <a:ext cx="8277225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1" y="1402556"/>
            <a:ext cx="8277225" cy="3238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3077" name="Line 23"/>
          <p:cNvSpPr>
            <a:spLocks noChangeShapeType="1"/>
          </p:cNvSpPr>
          <p:nvPr/>
        </p:nvSpPr>
        <p:spPr bwMode="auto">
          <a:xfrm>
            <a:off x="0" y="4763691"/>
            <a:ext cx="9144000" cy="0"/>
          </a:xfrm>
          <a:prstGeom prst="line">
            <a:avLst/>
          </a:prstGeom>
          <a:noFill/>
          <a:ln w="12700">
            <a:solidFill>
              <a:srgbClr val="2D4B9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04" tIns="45702" rIns="91404" bIns="45702"/>
          <a:lstStyle/>
          <a:p>
            <a:endParaRPr lang="de-DE" sz="1573"/>
          </a:p>
        </p:txBody>
      </p:sp>
      <p:sp>
        <p:nvSpPr>
          <p:cNvPr id="3080" name="Rectangle 16"/>
          <p:cNvSpPr>
            <a:spLocks noChangeArrowheads="1"/>
          </p:cNvSpPr>
          <p:nvPr userDrawn="1"/>
        </p:nvSpPr>
        <p:spPr bwMode="auto">
          <a:xfrm>
            <a:off x="8377238" y="4786320"/>
            <a:ext cx="309562" cy="27027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04" tIns="45702" rIns="91404" bIns="45702" anchor="ctr"/>
          <a:lstStyle/>
          <a:p>
            <a:endParaRPr lang="de-DE" sz="1573"/>
          </a:p>
        </p:txBody>
      </p:sp>
      <p:sp>
        <p:nvSpPr>
          <p:cNvPr id="3081" name="Line 23"/>
          <p:cNvSpPr>
            <a:spLocks noChangeShapeType="1"/>
          </p:cNvSpPr>
          <p:nvPr userDrawn="1"/>
        </p:nvSpPr>
        <p:spPr bwMode="auto">
          <a:xfrm>
            <a:off x="0" y="4763691"/>
            <a:ext cx="9144000" cy="0"/>
          </a:xfrm>
          <a:prstGeom prst="line">
            <a:avLst/>
          </a:prstGeom>
          <a:noFill/>
          <a:ln w="12700">
            <a:solidFill>
              <a:srgbClr val="2D4B9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04" tIns="45702" rIns="91404" bIns="45702"/>
          <a:lstStyle/>
          <a:p>
            <a:endParaRPr lang="de-DE" sz="1573"/>
          </a:p>
        </p:txBody>
      </p:sp>
      <p:pic>
        <p:nvPicPr>
          <p:cNvPr id="3082" name="Picture 28" descr="Bundesadler_kleiner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738" y="4792274"/>
            <a:ext cx="335240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3" name="Picture 38" descr="Wortbildmarke-und-Claim-positiv-transparent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7668" y="134543"/>
            <a:ext cx="1912460" cy="472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hteck 1"/>
          <p:cNvSpPr/>
          <p:nvPr userDrawn="1"/>
        </p:nvSpPr>
        <p:spPr>
          <a:xfrm>
            <a:off x="5795537" y="4809746"/>
            <a:ext cx="3360215" cy="3343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573" dirty="0"/>
              <a:t>J.</a:t>
            </a:r>
            <a:r>
              <a:rPr lang="de-DE" sz="1573" baseline="0" dirty="0"/>
              <a:t> </a:t>
            </a:r>
            <a:r>
              <a:rPr lang="de-DE" sz="1573" dirty="0"/>
              <a:t>Helmert et al.,</a:t>
            </a:r>
            <a:r>
              <a:rPr lang="de-DE" sz="1573" baseline="0" dirty="0"/>
              <a:t> COSMO GM 2020</a:t>
            </a:r>
            <a:endParaRPr lang="de-DE" sz="1573" dirty="0"/>
          </a:p>
        </p:txBody>
      </p:sp>
    </p:spTree>
    <p:extLst>
      <p:ext uri="{BB962C8B-B14F-4D97-AF65-F5344CB8AC3E}">
        <p14:creationId xmlns:p14="http://schemas.microsoft.com/office/powerpoint/2010/main" val="1326713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</p:sldLayoutIdLst>
  <p:transition>
    <p:fade/>
  </p:transition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Arial" charset="0"/>
        </a:defRPr>
      </a:lvl5pPr>
      <a:lvl6pPr marL="457009" algn="l" rtl="0" fontAlgn="base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Arial" charset="0"/>
        </a:defRPr>
      </a:lvl6pPr>
      <a:lvl7pPr marL="914018" algn="l" rtl="0" fontAlgn="base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Arial" charset="0"/>
        </a:defRPr>
      </a:lvl7pPr>
      <a:lvl8pPr marL="1371028" algn="l" rtl="0" fontAlgn="base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Arial" charset="0"/>
        </a:defRPr>
      </a:lvl8pPr>
      <a:lvl9pPr marL="1828037" algn="l" rtl="0" fontAlgn="base">
        <a:spcBef>
          <a:spcPct val="0"/>
        </a:spcBef>
        <a:spcAft>
          <a:spcPct val="0"/>
        </a:spcAft>
        <a:defRPr sz="2397" b="1">
          <a:solidFill>
            <a:schemeClr val="accent1"/>
          </a:solidFill>
          <a:latin typeface="Arial" charset="0"/>
        </a:defRPr>
      </a:lvl9pPr>
    </p:titleStyle>
    <p:bodyStyle>
      <a:lvl1pPr marL="352278" indent="-352278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l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91861" indent="-260241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2pPr>
      <a:lvl3pPr marL="1142523" indent="-228505" algn="l" rtl="0" eaLnBrk="0" fontAlgn="base" hangingPunct="0">
        <a:spcBef>
          <a:spcPct val="40000"/>
        </a:spcBef>
        <a:spcAft>
          <a:spcPct val="0"/>
        </a:spcAft>
        <a:buClr>
          <a:schemeClr val="bg2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599532" indent="-228505" algn="l" rtl="0" eaLnBrk="0" fontAlgn="base" hangingPunct="0">
        <a:spcBef>
          <a:spcPct val="40000"/>
        </a:spcBef>
        <a:spcAft>
          <a:spcPct val="0"/>
        </a:spcAft>
        <a:buClr>
          <a:schemeClr val="bg2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4pPr>
      <a:lvl5pPr marL="2056541" indent="-228505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5pPr>
      <a:lvl6pPr marL="2513550" indent="-228505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6pPr>
      <a:lvl7pPr marL="2970560" indent="-228505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7pPr>
      <a:lvl8pPr marL="3427569" indent="-228505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8pPr>
      <a:lvl9pPr marL="3884578" indent="-228505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7009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4018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8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7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6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2055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9065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6074" algn="l" defTabSz="914018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 4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144000" cy="102870"/>
          </a:xfrm>
          <a:prstGeom prst="rect">
            <a:avLst/>
          </a:prstGeom>
        </p:spPr>
      </p:pic>
      <p:sp>
        <p:nvSpPr>
          <p:cNvPr id="25" name="Rechteck 24"/>
          <p:cNvSpPr/>
          <p:nvPr userDrawn="1"/>
        </p:nvSpPr>
        <p:spPr>
          <a:xfrm>
            <a:off x="7659141" y="4650565"/>
            <a:ext cx="107503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5800" eaLnBrk="1" fontAlgn="auto" hangingPunct="1">
              <a:spcBef>
                <a:spcPts val="0"/>
              </a:spcBef>
              <a:spcAft>
                <a:spcPts val="0"/>
              </a:spcAft>
            </a:pPr>
            <a:fld id="{1EE35605-8AB3-442C-A293-9F31FDF185BC}" type="slidenum">
              <a:rPr lang="de-CH" sz="900" smtClean="0">
                <a:solidFill>
                  <a:prstClr val="black"/>
                </a:solidFill>
                <a:latin typeface="Roboto Light"/>
                <a:cs typeface="Roboto Light"/>
              </a:rPr>
              <a:pPr algn="r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900" dirty="0">
              <a:solidFill>
                <a:prstClr val="black"/>
              </a:solidFill>
              <a:latin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1411718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•"/>
        <a:defRPr sz="21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B2B2B2"/>
        </a:buClr>
        <a:buChar char="•"/>
        <a:defRPr sz="21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C0C0C0"/>
        </a:buClr>
        <a:buChar char="•"/>
        <a:defRPr sz="21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DDDDDD"/>
        </a:buClr>
        <a:buChar char="•"/>
        <a:defRPr sz="21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DDDDDD"/>
        </a:buClr>
        <a:buChar char="•"/>
        <a:defRPr sz="21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DDDDDD"/>
        </a:buClr>
        <a:buChar char="•"/>
        <a:defRPr sz="21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DDDDDD"/>
        </a:buClr>
        <a:buChar char="•"/>
        <a:defRPr sz="21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DDDDDD"/>
        </a:buClr>
        <a:buChar char="•"/>
        <a:defRPr sz="21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82" name="Rectangle 2">
            <a:extLst>
              <a:ext uri="{FF2B5EF4-FFF2-40B4-BE49-F238E27FC236}">
                <a16:creationId xmlns:a16="http://schemas.microsoft.com/office/drawing/2014/main" id="{685F8B10-97D9-4AFC-9728-25867B7F048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742950"/>
            <a:ext cx="7772400" cy="571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Klicken Sie, um das Titelformat zu bearbeiten</a:t>
            </a:r>
          </a:p>
        </p:txBody>
      </p:sp>
      <p:sp>
        <p:nvSpPr>
          <p:cNvPr id="174083" name="Rectangle 3">
            <a:extLst>
              <a:ext uri="{FF2B5EF4-FFF2-40B4-BE49-F238E27FC236}">
                <a16:creationId xmlns:a16="http://schemas.microsoft.com/office/drawing/2014/main" id="{A12CD323-4599-460E-9AC9-86BFC36A140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485900"/>
            <a:ext cx="7772400" cy="308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Klicken Sie, um die Formate des Vorlagentextes zu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174084" name="Rectangle 4">
            <a:extLst>
              <a:ext uri="{FF2B5EF4-FFF2-40B4-BE49-F238E27FC236}">
                <a16:creationId xmlns:a16="http://schemas.microsoft.com/office/drawing/2014/main" id="{E251345D-89BF-437F-93BC-C93C7F434E2A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95288" y="4933950"/>
            <a:ext cx="295275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750">
                <a:solidFill>
                  <a:srgbClr val="000000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Schulz et al.: PP CITTA'</a:t>
            </a:r>
          </a:p>
        </p:txBody>
      </p:sp>
      <p:sp>
        <p:nvSpPr>
          <p:cNvPr id="174085" name="Rectangle 5">
            <a:extLst>
              <a:ext uri="{FF2B5EF4-FFF2-40B4-BE49-F238E27FC236}">
                <a16:creationId xmlns:a16="http://schemas.microsoft.com/office/drawing/2014/main" id="{42908A94-A366-4191-9D7C-D72EA3D439F2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4933950"/>
            <a:ext cx="289560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750">
                <a:solidFill>
                  <a:srgbClr val="000000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r>
              <a:rPr lang="de-DE"/>
              <a:t>14 Sep. 2022</a:t>
            </a:r>
          </a:p>
        </p:txBody>
      </p:sp>
      <p:sp>
        <p:nvSpPr>
          <p:cNvPr id="174086" name="Rectangle 6">
            <a:extLst>
              <a:ext uri="{FF2B5EF4-FFF2-40B4-BE49-F238E27FC236}">
                <a16:creationId xmlns:a16="http://schemas.microsoft.com/office/drawing/2014/main" id="{D56A708B-FC5F-4931-88B0-62AEE6649FEE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4686300"/>
            <a:ext cx="1905000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5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E5A9006-A473-4C54-92BC-4E8C5E4F0398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201717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MS PGothic" pitchFamily="34" charset="-128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charset="0"/>
          <a:ea typeface="MS PGothic" pitchFamily="34" charset="-128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charset="0"/>
          <a:ea typeface="MS PGothic" pitchFamily="34" charset="-128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charset="0"/>
          <a:ea typeface="MS PGothic" pitchFamily="34" charset="-128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charset="0"/>
          <a:ea typeface="MS PGothic" pitchFamily="34" charset="-128"/>
          <a:cs typeface="ＭＳ Ｐゴシック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charset="0"/>
          <a:ea typeface="ＭＳ Ｐゴシック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charset="0"/>
          <a:ea typeface="ＭＳ Ｐゴシック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charset="0"/>
          <a:ea typeface="ＭＳ Ｐゴシック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charset="0"/>
          <a:ea typeface="ＭＳ Ｐゴシック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  <a:ea typeface="MS PGothic" pitchFamily="34" charset="-128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  <a:ea typeface="MS PGothic" pitchFamily="34" charset="-128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  <a:ea typeface="MS PGothic" pitchFamily="34" charset="-128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ea typeface="MS PGothic" pitchFamily="34" charset="-128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ea typeface="+mn-ea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ea typeface="+mn-ea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ea typeface="+mn-ea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DWD-Logo" descr="Wort-Bild-Marke des Deutschen Wetterdienst. Wetter und Klima aus einer Hand." title="DWD-Logo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7387610" y="144000"/>
            <a:ext cx="1612390" cy="432000"/>
          </a:xfrm>
          <a:prstGeom prst="rect">
            <a:avLst/>
          </a:prstGeom>
        </p:spPr>
      </p:pic>
      <p:cxnSp>
        <p:nvCxnSpPr>
          <p:cNvPr id="10" name="Inhalt beginnt" descr="Ab hier sollte der Inhalt der Folie beginnen." title="Horizontale Linie"/>
          <p:cNvCxnSpPr/>
          <p:nvPr userDrawn="1"/>
        </p:nvCxnSpPr>
        <p:spPr>
          <a:xfrm>
            <a:off x="144000" y="720000"/>
            <a:ext cx="8856000" cy="0"/>
          </a:xfrm>
          <a:prstGeom prst="line">
            <a:avLst/>
          </a:prstGeom>
          <a:ln w="12700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platzhalter"/>
          <p:cNvSpPr>
            <a:spLocks noGrp="1"/>
          </p:cNvSpPr>
          <p:nvPr>
            <p:ph type="title"/>
          </p:nvPr>
        </p:nvSpPr>
        <p:spPr>
          <a:xfrm>
            <a:off x="395287" y="864000"/>
            <a:ext cx="8353425" cy="360099"/>
          </a:xfrm>
          <a:prstGeom prst="rect">
            <a:avLst/>
          </a:prstGeom>
        </p:spPr>
        <p:txBody>
          <a:bodyPr vert="horz" wrap="square" lIns="72000" tIns="0" rIns="72000" bIns="0" rtlCol="0" anchor="t" anchorCtr="0">
            <a:spAutoFit/>
          </a:bodyPr>
          <a:lstStyle/>
          <a:p>
            <a:r>
              <a:rPr lang="de-DE" dirty="0"/>
              <a:t>Folientitel durch Klicken bearbeiten</a:t>
            </a:r>
            <a:endParaRPr lang="en-US" dirty="0"/>
          </a:p>
        </p:txBody>
      </p:sp>
      <p:sp>
        <p:nvSpPr>
          <p:cNvPr id="13" name="Textplatzhalter"/>
          <p:cNvSpPr>
            <a:spLocks noGrp="1"/>
          </p:cNvSpPr>
          <p:nvPr>
            <p:ph type="body" idx="1"/>
          </p:nvPr>
        </p:nvSpPr>
        <p:spPr>
          <a:xfrm>
            <a:off x="395287" y="1370014"/>
            <a:ext cx="8353425" cy="3150724"/>
          </a:xfrm>
          <a:prstGeom prst="rect">
            <a:avLst/>
          </a:prstGeom>
        </p:spPr>
        <p:txBody>
          <a:bodyPr vert="horz" lIns="72000" tIns="36000" rIns="72000" bIns="36000" rtlCol="0">
            <a:normAutofit/>
          </a:bodyPr>
          <a:lstStyle/>
          <a:p>
            <a:pPr marL="352425" marR="0" lvl="0" indent="-352425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2D4B9B"/>
              </a:buClr>
              <a:buSzPct val="95000"/>
              <a:buFont typeface="Wingdings" panose="05000000000000000000" pitchFamily="2" charset="2"/>
              <a:buChar char="è"/>
              <a:tabLst/>
              <a:defRPr/>
            </a:pPr>
            <a:r>
              <a:rPr kumimoji="0" lang="de-DE" alt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 durch Klicken hinzufügen</a:t>
            </a:r>
          </a:p>
          <a:p>
            <a:pPr marL="692150" marR="0" lvl="1" indent="-260350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2D4B9B"/>
              </a:buClr>
              <a:buSzPct val="95000"/>
              <a:buFont typeface="Wingdings" panose="05000000000000000000" pitchFamily="2" charset="2"/>
              <a:buChar char="è"/>
              <a:tabLst/>
              <a:defRPr/>
            </a:pPr>
            <a:r>
              <a:rPr kumimoji="0" lang="de-DE" alt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Zweite Ebene</a:t>
            </a:r>
          </a:p>
          <a:p>
            <a:pPr marL="1143000" marR="0" lvl="2" indent="-228600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2D4B9B"/>
              </a:buClr>
              <a:buSzPct val="95000"/>
              <a:buFont typeface="Wingdings" panose="05000000000000000000" pitchFamily="2" charset="2"/>
              <a:buChar char="è"/>
              <a:tabLst/>
              <a:defRPr/>
            </a:pPr>
            <a:r>
              <a:rPr kumimoji="0" lang="de-DE" alt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Dritte Ebene</a:t>
            </a:r>
          </a:p>
          <a:p>
            <a:pPr marL="1600200" marR="0" lvl="3" indent="-228600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2D4B9B"/>
              </a:buClr>
              <a:buSzPct val="95000"/>
              <a:buFont typeface="Wingdings" panose="05000000000000000000" pitchFamily="2" charset="2"/>
              <a:buChar char="è"/>
              <a:tabLst/>
              <a:defRPr/>
            </a:pPr>
            <a:r>
              <a:rPr kumimoji="0" lang="de-DE" alt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Vierte Ebene</a:t>
            </a:r>
          </a:p>
          <a:p>
            <a:pPr marL="2057400" marR="0" lvl="4" indent="-228600" algn="l" defTabSz="914400" rtl="0" eaLnBrk="0" fontAlgn="base" latinLnBrk="0" hangingPunct="0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2D4B9B"/>
              </a:buClr>
              <a:buSzPct val="95000"/>
              <a:buFont typeface="Wingdings" panose="05000000000000000000" pitchFamily="2" charset="2"/>
              <a:buChar char="è"/>
              <a:tabLst/>
              <a:defRPr/>
            </a:pPr>
            <a:r>
              <a:rPr kumimoji="0" lang="de-DE" alt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</a:rPr>
              <a:t>Fünfte Ebene</a:t>
            </a:r>
          </a:p>
        </p:txBody>
      </p:sp>
      <p:cxnSp>
        <p:nvCxnSpPr>
          <p:cNvPr id="12" name="Inhalt endet" descr="Ab hier sollte der Inhalt der Folie beginnen." title="Horizontale Linie"/>
          <p:cNvCxnSpPr/>
          <p:nvPr userDrawn="1"/>
        </p:nvCxnSpPr>
        <p:spPr>
          <a:xfrm>
            <a:off x="144000" y="4658928"/>
            <a:ext cx="8856000" cy="0"/>
          </a:xfrm>
          <a:prstGeom prst="line">
            <a:avLst/>
          </a:prstGeom>
          <a:ln w="12700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undesadler" descr="Bundesadler_kleiner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4001" y="4732620"/>
            <a:ext cx="309177" cy="28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atumsplatzhalter"/>
          <p:cNvSpPr>
            <a:spLocks noGrp="1"/>
          </p:cNvSpPr>
          <p:nvPr>
            <p:ph type="dt" sz="half" idx="2"/>
          </p:nvPr>
        </p:nvSpPr>
        <p:spPr>
          <a:xfrm>
            <a:off x="542166" y="4739302"/>
            <a:ext cx="2143884" cy="274637"/>
          </a:xfrm>
          <a:prstGeom prst="rect">
            <a:avLst/>
          </a:prstGeom>
        </p:spPr>
        <p:txBody>
          <a:bodyPr vert="horz" lIns="91440" tIns="14400" rIns="91440" bIns="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2024-09</a:t>
            </a:r>
            <a:endParaRPr lang="de-DE" dirty="0"/>
          </a:p>
        </p:txBody>
      </p:sp>
      <p:sp>
        <p:nvSpPr>
          <p:cNvPr id="8" name="Fußzeilenplatzhalter"/>
          <p:cNvSpPr>
            <a:spLocks noGrp="1"/>
          </p:cNvSpPr>
          <p:nvPr>
            <p:ph type="ftr" sz="quarter" idx="3"/>
          </p:nvPr>
        </p:nvSpPr>
        <p:spPr>
          <a:xfrm>
            <a:off x="2686050" y="4739302"/>
            <a:ext cx="5539313" cy="274637"/>
          </a:xfrm>
          <a:prstGeom prst="rect">
            <a:avLst/>
          </a:prstGeom>
        </p:spPr>
        <p:txBody>
          <a:bodyPr vert="horz" lIns="91440" tIns="14400" rIns="9144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COSMO-GM</a:t>
            </a:r>
            <a:endParaRPr lang="de-DE" dirty="0"/>
          </a:p>
        </p:txBody>
      </p:sp>
      <p:sp>
        <p:nvSpPr>
          <p:cNvPr id="9" name="Foliennummernplatzhalter"/>
          <p:cNvSpPr>
            <a:spLocks noGrp="1"/>
          </p:cNvSpPr>
          <p:nvPr>
            <p:ph type="sldNum" sz="quarter" idx="4"/>
          </p:nvPr>
        </p:nvSpPr>
        <p:spPr>
          <a:xfrm>
            <a:off x="8225363" y="4739302"/>
            <a:ext cx="523350" cy="274637"/>
          </a:xfrm>
          <a:prstGeom prst="rect">
            <a:avLst/>
          </a:prstGeom>
        </p:spPr>
        <p:txBody>
          <a:bodyPr vert="horz" lIns="91440" tIns="14400" rIns="9144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58FC84-22FA-4F5E-86B7-A7761BE44B0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022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  <p:sldLayoutId id="2147483876" r:id="rId12"/>
    <p:sldLayoutId id="2147483877" r:id="rId13"/>
    <p:sldLayoutId id="2147483890" r:id="rId14"/>
  </p:sldLayoutIdLst>
  <p:hf sldNum="0"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2425" marR="0" indent="-352425" algn="l" defTabSz="914400" rtl="0" eaLnBrk="0" fontAlgn="base" latinLnBrk="0" hangingPunct="0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ct val="95000"/>
        <a:buFont typeface="Wingdings" panose="05000000000000000000" pitchFamily="2" charset="2"/>
        <a:buChar char=""/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92150" marR="0" indent="-260350" algn="l" defTabSz="914400" rtl="0" eaLnBrk="0" fontAlgn="base" latinLnBrk="0" hangingPunct="0">
        <a:lnSpc>
          <a:spcPct val="100000"/>
        </a:lnSpc>
        <a:spcBef>
          <a:spcPct val="40000"/>
        </a:spcBef>
        <a:spcAft>
          <a:spcPct val="0"/>
        </a:spcAft>
        <a:buClr>
          <a:srgbClr val="2D4B9B"/>
        </a:buClr>
        <a:buSzPct val="95000"/>
        <a:buFont typeface="Wingdings" panose="05000000000000000000" pitchFamily="2" charset="2"/>
        <a:buChar char="è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marR="0" indent="-228600" algn="l" defTabSz="914400" rtl="0" eaLnBrk="0" fontAlgn="base" latinLnBrk="0" hangingPunct="0">
        <a:lnSpc>
          <a:spcPct val="100000"/>
        </a:lnSpc>
        <a:spcBef>
          <a:spcPct val="40000"/>
        </a:spcBef>
        <a:spcAft>
          <a:spcPct val="0"/>
        </a:spcAft>
        <a:buClr>
          <a:srgbClr val="2D4B9B"/>
        </a:buClr>
        <a:buSzPct val="95000"/>
        <a:buFont typeface="Wingdings" panose="05000000000000000000" pitchFamily="2" charset="2"/>
        <a:buChar char="è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marR="0" indent="-228600" algn="l" defTabSz="914400" rtl="0" eaLnBrk="0" fontAlgn="base" latinLnBrk="0" hangingPunct="0">
        <a:lnSpc>
          <a:spcPct val="100000"/>
        </a:lnSpc>
        <a:spcBef>
          <a:spcPct val="40000"/>
        </a:spcBef>
        <a:spcAft>
          <a:spcPct val="0"/>
        </a:spcAft>
        <a:buClr>
          <a:srgbClr val="2D4B9B"/>
        </a:buClr>
        <a:buSzPct val="95000"/>
        <a:buFont typeface="Wingdings" panose="05000000000000000000" pitchFamily="2" charset="2"/>
        <a:buChar char="è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marR="0" indent="-228600" algn="l" defTabSz="914400" rtl="0" eaLnBrk="0" fontAlgn="base" latinLnBrk="0" hangingPunct="0">
        <a:lnSpc>
          <a:spcPct val="100000"/>
        </a:lnSpc>
        <a:spcBef>
          <a:spcPct val="40000"/>
        </a:spcBef>
        <a:spcAft>
          <a:spcPct val="0"/>
        </a:spcAft>
        <a:buClr>
          <a:srgbClr val="2D4B9B"/>
        </a:buClr>
        <a:buSzPct val="95000"/>
        <a:buFont typeface="Wingdings" panose="05000000000000000000" pitchFamily="2" charset="2"/>
        <a:buChar char="è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577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11">
          <p15:clr>
            <a:srgbClr val="F26B43"/>
          </p15:clr>
        </p15:guide>
        <p15:guide id="5" pos="249">
          <p15:clr>
            <a:srgbClr val="F26B43"/>
          </p15:clr>
        </p15:guide>
        <p15:guide id="6" pos="5465">
          <p15:clr>
            <a:srgbClr val="F26B43"/>
          </p15:clr>
        </p15:guide>
        <p15:guide id="7" pos="29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Placeholder 1">
            <a:extLst>
              <a:ext uri="{FF2B5EF4-FFF2-40B4-BE49-F238E27FC236}">
                <a16:creationId xmlns:a16="http://schemas.microsoft.com/office/drawing/2014/main" id="{4B652124-00A7-B144-BEBC-86D0528D49B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57200" y="32862"/>
            <a:ext cx="7804150" cy="584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DE"/>
              <a:t>Click to edit Master title style</a:t>
            </a:r>
            <a:endParaRPr lang="en-GB" altLang="en-DE"/>
          </a:p>
        </p:txBody>
      </p:sp>
      <p:sp>
        <p:nvSpPr>
          <p:cNvPr id="18435" name="Text Placeholder 2">
            <a:extLst>
              <a:ext uri="{FF2B5EF4-FFF2-40B4-BE49-F238E27FC236}">
                <a16:creationId xmlns:a16="http://schemas.microsoft.com/office/drawing/2014/main" id="{4E539224-86AB-9C4B-9907-9F8E70D8E907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DE"/>
              <a:t>Click to edit Master text styles</a:t>
            </a:r>
          </a:p>
          <a:p>
            <a:pPr lvl="1"/>
            <a:r>
              <a:rPr lang="en-US" altLang="en-DE"/>
              <a:t>Second level</a:t>
            </a:r>
          </a:p>
          <a:p>
            <a:pPr lvl="2"/>
            <a:r>
              <a:rPr lang="en-US" altLang="en-DE"/>
              <a:t>Third level</a:t>
            </a:r>
          </a:p>
          <a:p>
            <a:pPr lvl="3"/>
            <a:r>
              <a:rPr lang="en-US" altLang="en-DE"/>
              <a:t>Fourth level</a:t>
            </a:r>
          </a:p>
          <a:p>
            <a:pPr lvl="4"/>
            <a:r>
              <a:rPr lang="en-US" altLang="en-DE"/>
              <a:t>Fifth level</a:t>
            </a:r>
            <a:endParaRPr lang="en-GB" altLang="en-DE"/>
          </a:p>
        </p:txBody>
      </p:sp>
      <p:sp>
        <p:nvSpPr>
          <p:cNvPr id="3076" name="Line 20">
            <a:extLst>
              <a:ext uri="{FF2B5EF4-FFF2-40B4-BE49-F238E27FC236}">
                <a16:creationId xmlns:a16="http://schemas.microsoft.com/office/drawing/2014/main" id="{6516E601-6029-1042-8C35-022B523A4689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614363"/>
            <a:ext cx="91440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1620">
              <a:latin typeface="Arial" pitchFamily="4" charset="0"/>
              <a:ea typeface="ＭＳ Ｐゴシック" pitchFamily="4" charset="-128"/>
              <a:cs typeface="ＭＳ Ｐゴシック" pitchFamily="4" charset="-128"/>
            </a:endParaRPr>
          </a:p>
        </p:txBody>
      </p:sp>
      <p:pic>
        <p:nvPicPr>
          <p:cNvPr id="18437" name="Picture 12" descr="K:\Deutscher Wetterdienst\Corporate Design Aktuell\DWD-Logo-Komplett\20mm\RGB\Wortbildmarke mit Claim\bmp\Wortbildmarke-und-Claim-positiv-auf-weiss.bmp">
            <a:extLst>
              <a:ext uri="{FF2B5EF4-FFF2-40B4-BE49-F238E27FC236}">
                <a16:creationId xmlns:a16="http://schemas.microsoft.com/office/drawing/2014/main" id="{05A040CD-C067-BE42-93B9-92071C5FC0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649" r="-899"/>
          <a:stretch>
            <a:fillRect/>
          </a:stretch>
        </p:blipFill>
        <p:spPr bwMode="auto">
          <a:xfrm>
            <a:off x="8593139" y="87154"/>
            <a:ext cx="395287" cy="460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47812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9" r:id="rId1"/>
    <p:sldLayoutId id="2147483880" r:id="rId2"/>
    <p:sldLayoutId id="2147483881" r:id="rId3"/>
    <p:sldLayoutId id="2147483882" r:id="rId4"/>
    <p:sldLayoutId id="2147483883" r:id="rId5"/>
    <p:sldLayoutId id="2147483884" r:id="rId6"/>
    <p:sldLayoutId id="2147483885" r:id="rId7"/>
    <p:sldLayoutId id="2147483886" r:id="rId8"/>
    <p:sldLayoutId id="2147483887" r:id="rId9"/>
    <p:sldLayoutId id="2147483888" r:id="rId10"/>
    <p:sldLayoutId id="214748388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2160" kern="1200">
          <a:solidFill>
            <a:srgbClr val="595959"/>
          </a:solidFill>
          <a:latin typeface="+mj-lt"/>
          <a:ea typeface="ＭＳ Ｐゴシック" pitchFamily="-1" charset="-128"/>
          <a:cs typeface="ＭＳ Ｐゴシック" pitchFamily="-1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160">
          <a:solidFill>
            <a:srgbClr val="595959"/>
          </a:solidFill>
          <a:latin typeface="Calibri" pitchFamily="34" charset="0"/>
          <a:ea typeface="ＭＳ Ｐゴシック" pitchFamily="-1" charset="-128"/>
          <a:cs typeface="ＭＳ Ｐゴシック" pitchFamily="-1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160">
          <a:solidFill>
            <a:srgbClr val="595959"/>
          </a:solidFill>
          <a:latin typeface="Calibri" pitchFamily="34" charset="0"/>
          <a:ea typeface="ＭＳ Ｐゴシック" pitchFamily="-1" charset="-128"/>
          <a:cs typeface="ＭＳ Ｐゴシック" pitchFamily="-1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160">
          <a:solidFill>
            <a:srgbClr val="595959"/>
          </a:solidFill>
          <a:latin typeface="Calibri" pitchFamily="34" charset="0"/>
          <a:ea typeface="ＭＳ Ｐゴシック" pitchFamily="-1" charset="-128"/>
          <a:cs typeface="ＭＳ Ｐゴシック" pitchFamily="-1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160">
          <a:solidFill>
            <a:srgbClr val="595959"/>
          </a:solidFill>
          <a:latin typeface="Calibri" pitchFamily="34" charset="0"/>
          <a:ea typeface="ＭＳ Ｐゴシック" pitchFamily="-1" charset="-128"/>
          <a:cs typeface="ＭＳ Ｐゴシック" pitchFamily="-1" charset="-128"/>
        </a:defRPr>
      </a:lvl5pPr>
      <a:lvl6pPr marL="411480" algn="ctr" rtl="0" fontAlgn="base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Calibri" pitchFamily="34" charset="0"/>
        </a:defRPr>
      </a:lvl6pPr>
      <a:lvl7pPr marL="822960" algn="ctr" rtl="0" fontAlgn="base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Calibri" pitchFamily="34" charset="0"/>
        </a:defRPr>
      </a:lvl7pPr>
      <a:lvl8pPr marL="1234440" algn="ctr" rtl="0" fontAlgn="base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Calibri" pitchFamily="34" charset="0"/>
        </a:defRPr>
      </a:lvl8pPr>
      <a:lvl9pPr marL="1645920" algn="ctr" rtl="0" fontAlgn="base">
        <a:spcBef>
          <a:spcPct val="0"/>
        </a:spcBef>
        <a:spcAft>
          <a:spcPct val="0"/>
        </a:spcAft>
        <a:defRPr sz="3960">
          <a:solidFill>
            <a:schemeClr val="tx1"/>
          </a:solidFill>
          <a:latin typeface="Calibri" pitchFamily="34" charset="0"/>
        </a:defRPr>
      </a:lvl9pPr>
    </p:titleStyle>
    <p:bodyStyle>
      <a:lvl1pPr marL="308610" indent="-30861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880" kern="1200">
          <a:solidFill>
            <a:srgbClr val="595959"/>
          </a:solidFill>
          <a:latin typeface="+mn-lt"/>
          <a:ea typeface="ＭＳ Ｐゴシック" pitchFamily="-1" charset="-128"/>
          <a:cs typeface="ＭＳ Ｐゴシック" pitchFamily="-1" charset="-128"/>
        </a:defRPr>
      </a:lvl1pPr>
      <a:lvl2pPr marL="668655" indent="-257175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520" kern="1200">
          <a:solidFill>
            <a:srgbClr val="595959"/>
          </a:solidFill>
          <a:latin typeface="+mn-lt"/>
          <a:ea typeface="ＭＳ Ｐゴシック" pitchFamily="-1" charset="-128"/>
          <a:cs typeface="+mn-cs"/>
        </a:defRPr>
      </a:lvl2pPr>
      <a:lvl3pPr marL="1028700" indent="-20574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160" kern="1200">
          <a:solidFill>
            <a:srgbClr val="595959"/>
          </a:solidFill>
          <a:latin typeface="+mn-lt"/>
          <a:ea typeface="ＭＳ Ｐゴシック" pitchFamily="-1" charset="-128"/>
          <a:cs typeface="+mn-cs"/>
        </a:defRPr>
      </a:lvl3pPr>
      <a:lvl4pPr marL="1440180" indent="-20574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800" kern="1200">
          <a:solidFill>
            <a:srgbClr val="595959"/>
          </a:solidFill>
          <a:latin typeface="+mn-lt"/>
          <a:ea typeface="ＭＳ Ｐゴシック" pitchFamily="-1" charset="-128"/>
          <a:cs typeface="+mn-cs"/>
        </a:defRPr>
      </a:lvl4pPr>
      <a:lvl5pPr marL="1851660" indent="-20574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800" kern="1200">
          <a:solidFill>
            <a:srgbClr val="595959"/>
          </a:solidFill>
          <a:latin typeface="+mn-lt"/>
          <a:ea typeface="ＭＳ Ｐゴシック" pitchFamily="-1" charset="-128"/>
          <a:cs typeface="+mn-cs"/>
        </a:defRPr>
      </a:lvl5pPr>
      <a:lvl6pPr marL="2263140" indent="-205740" algn="l" defTabSz="82296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82296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82296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82296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23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2.jpeg"/><Relationship Id="rId5" Type="http://schemas.microsoft.com/office/2007/relationships/hdphoto" Target="../media/hdphoto2.wdp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oleObject" Target="../embeddings/oleObject7.bin"/><Relationship Id="rId18" Type="http://schemas.openxmlformats.org/officeDocument/2006/relationships/image" Target="../media/image42.wmf"/><Relationship Id="rId26" Type="http://schemas.openxmlformats.org/officeDocument/2006/relationships/image" Target="../media/image46.wmf"/><Relationship Id="rId39" Type="http://schemas.openxmlformats.org/officeDocument/2006/relationships/oleObject" Target="../embeddings/oleObject20.bin"/><Relationship Id="rId21" Type="http://schemas.openxmlformats.org/officeDocument/2006/relationships/oleObject" Target="../embeddings/oleObject11.bin"/><Relationship Id="rId34" Type="http://schemas.openxmlformats.org/officeDocument/2006/relationships/image" Target="../media/image50.wmf"/><Relationship Id="rId42" Type="http://schemas.openxmlformats.org/officeDocument/2006/relationships/image" Target="../media/image54.emf"/><Relationship Id="rId47" Type="http://schemas.openxmlformats.org/officeDocument/2006/relationships/image" Target="../media/image32.jpeg"/><Relationship Id="rId50" Type="http://schemas.openxmlformats.org/officeDocument/2006/relationships/image" Target="../media/image57.wmf"/><Relationship Id="rId7" Type="http://schemas.openxmlformats.org/officeDocument/2006/relationships/oleObject" Target="../embeddings/oleObject4.bin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41.wmf"/><Relationship Id="rId29" Type="http://schemas.openxmlformats.org/officeDocument/2006/relationships/oleObject" Target="../embeddings/oleObject15.bin"/><Relationship Id="rId11" Type="http://schemas.openxmlformats.org/officeDocument/2006/relationships/oleObject" Target="../embeddings/oleObject6.bin"/><Relationship Id="rId24" Type="http://schemas.openxmlformats.org/officeDocument/2006/relationships/image" Target="../media/image45.wmf"/><Relationship Id="rId32" Type="http://schemas.openxmlformats.org/officeDocument/2006/relationships/image" Target="../media/image49.wmf"/><Relationship Id="rId37" Type="http://schemas.openxmlformats.org/officeDocument/2006/relationships/oleObject" Target="../embeddings/oleObject19.bin"/><Relationship Id="rId40" Type="http://schemas.openxmlformats.org/officeDocument/2006/relationships/image" Target="../media/image53.wmf"/><Relationship Id="rId45" Type="http://schemas.openxmlformats.org/officeDocument/2006/relationships/oleObject" Target="../embeddings/oleObject23.bin"/><Relationship Id="rId5" Type="http://schemas.openxmlformats.org/officeDocument/2006/relationships/oleObject" Target="../embeddings/oleObject3.bin"/><Relationship Id="rId15" Type="http://schemas.openxmlformats.org/officeDocument/2006/relationships/oleObject" Target="../embeddings/oleObject8.bin"/><Relationship Id="rId23" Type="http://schemas.openxmlformats.org/officeDocument/2006/relationships/oleObject" Target="../embeddings/oleObject12.bin"/><Relationship Id="rId28" Type="http://schemas.openxmlformats.org/officeDocument/2006/relationships/image" Target="../media/image47.wmf"/><Relationship Id="rId36" Type="http://schemas.openxmlformats.org/officeDocument/2006/relationships/image" Target="../media/image51.wmf"/><Relationship Id="rId49" Type="http://schemas.openxmlformats.org/officeDocument/2006/relationships/oleObject" Target="../embeddings/oleObject24.bin"/><Relationship Id="rId10" Type="http://schemas.openxmlformats.org/officeDocument/2006/relationships/image" Target="../media/image38.wmf"/><Relationship Id="rId19" Type="http://schemas.openxmlformats.org/officeDocument/2006/relationships/oleObject" Target="../embeddings/oleObject10.bin"/><Relationship Id="rId31" Type="http://schemas.openxmlformats.org/officeDocument/2006/relationships/oleObject" Target="../embeddings/oleObject16.bin"/><Relationship Id="rId44" Type="http://schemas.openxmlformats.org/officeDocument/2006/relationships/image" Target="../media/image55.wmf"/><Relationship Id="rId4" Type="http://schemas.openxmlformats.org/officeDocument/2006/relationships/image" Target="../media/image35.wmf"/><Relationship Id="rId9" Type="http://schemas.openxmlformats.org/officeDocument/2006/relationships/oleObject" Target="../embeddings/oleObject5.bin"/><Relationship Id="rId14" Type="http://schemas.openxmlformats.org/officeDocument/2006/relationships/image" Target="../media/image40.wmf"/><Relationship Id="rId22" Type="http://schemas.openxmlformats.org/officeDocument/2006/relationships/image" Target="../media/image44.wmf"/><Relationship Id="rId27" Type="http://schemas.openxmlformats.org/officeDocument/2006/relationships/oleObject" Target="../embeddings/oleObject14.bin"/><Relationship Id="rId30" Type="http://schemas.openxmlformats.org/officeDocument/2006/relationships/image" Target="../media/image48.wmf"/><Relationship Id="rId35" Type="http://schemas.openxmlformats.org/officeDocument/2006/relationships/oleObject" Target="../embeddings/oleObject18.bin"/><Relationship Id="rId43" Type="http://schemas.openxmlformats.org/officeDocument/2006/relationships/oleObject" Target="../embeddings/oleObject22.bin"/><Relationship Id="rId48" Type="http://schemas.openxmlformats.org/officeDocument/2006/relationships/image" Target="../media/image23.jpeg"/><Relationship Id="rId8" Type="http://schemas.openxmlformats.org/officeDocument/2006/relationships/image" Target="../media/image37.wmf"/><Relationship Id="rId51" Type="http://schemas.openxmlformats.org/officeDocument/2006/relationships/image" Target="../media/image58.png"/><Relationship Id="rId3" Type="http://schemas.openxmlformats.org/officeDocument/2006/relationships/oleObject" Target="../embeddings/oleObject2.bin"/><Relationship Id="rId12" Type="http://schemas.openxmlformats.org/officeDocument/2006/relationships/image" Target="../media/image39.wmf"/><Relationship Id="rId17" Type="http://schemas.openxmlformats.org/officeDocument/2006/relationships/oleObject" Target="../embeddings/oleObject9.bin"/><Relationship Id="rId25" Type="http://schemas.openxmlformats.org/officeDocument/2006/relationships/oleObject" Target="../embeddings/oleObject13.bin"/><Relationship Id="rId33" Type="http://schemas.openxmlformats.org/officeDocument/2006/relationships/oleObject" Target="../embeddings/oleObject17.bin"/><Relationship Id="rId38" Type="http://schemas.openxmlformats.org/officeDocument/2006/relationships/image" Target="../media/image52.wmf"/><Relationship Id="rId46" Type="http://schemas.openxmlformats.org/officeDocument/2006/relationships/image" Target="../media/image56.wmf"/><Relationship Id="rId20" Type="http://schemas.openxmlformats.org/officeDocument/2006/relationships/image" Target="../media/image43.wmf"/><Relationship Id="rId41" Type="http://schemas.openxmlformats.org/officeDocument/2006/relationships/oleObject" Target="../embeddings/oleObject21.bin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w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0.jp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1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futurewater.eu/projects/hihydrosoil/" TargetMode="External"/><Relationship Id="rId1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hyperlink" Target="https://gitlab.dkrz.de/icon/icon-nwp/-/merge_requests/1487" TargetMode="External"/><Relationship Id="rId1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5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74F50DE8-BEB2-B447-9F8C-680957CEB7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8145" y="589722"/>
            <a:ext cx="7506393" cy="4147930"/>
          </a:xfrm>
          <a:ln>
            <a:noFill/>
          </a:ln>
        </p:spPr>
        <p:txBody>
          <a:bodyPr/>
          <a:lstStyle/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US" sz="2800" b="1" spc="300" dirty="0"/>
              <a:t>WG PHYS : soil &amp; surface (WG3b) </a:t>
            </a:r>
            <a:r>
              <a:rPr lang="en-US" sz="1600" b="1" i="1" spc="300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US" sz="1600" b="1" i="1" spc="300" dirty="0">
                <a:solidFill>
                  <a:schemeClr val="tx1"/>
                </a:solidFill>
              </a:rPr>
              <a:t>Terra developments</a:t>
            </a:r>
            <a:br>
              <a:rPr lang="en-US" sz="1600" b="1" i="1" spc="300" dirty="0">
                <a:solidFill>
                  <a:schemeClr val="tx1"/>
                </a:solidFill>
              </a:rPr>
            </a:br>
            <a:r>
              <a:rPr lang="en-US" sz="1600" b="1" i="1" spc="300" dirty="0">
                <a:solidFill>
                  <a:schemeClr val="tx1"/>
                </a:solidFill>
              </a:rPr>
              <a:t>ICON-LAND and </a:t>
            </a:r>
            <a:r>
              <a:rPr lang="en-US" sz="1600" b="1" i="1" spc="300" dirty="0" err="1">
                <a:solidFill>
                  <a:schemeClr val="tx1"/>
                </a:solidFill>
              </a:rPr>
              <a:t>JSBach</a:t>
            </a:r>
            <a:r>
              <a:rPr lang="en-US" sz="1600" b="1" i="1" spc="300" dirty="0">
                <a:solidFill>
                  <a:schemeClr val="tx1"/>
                </a:solidFill>
              </a:rPr>
              <a:t> (ICON seamless)</a:t>
            </a:r>
            <a:br>
              <a:rPr lang="en-US" sz="1600" b="1" i="1" spc="300" dirty="0">
                <a:solidFill>
                  <a:schemeClr val="tx1"/>
                </a:solidFill>
              </a:rPr>
            </a:br>
            <a:r>
              <a:rPr lang="en-US" sz="1600" b="1" i="1" spc="300" dirty="0">
                <a:solidFill>
                  <a:schemeClr val="tx1"/>
                </a:solidFill>
              </a:rPr>
              <a:t>Consolidation of surface-atmosphere transfer (</a:t>
            </a:r>
            <a:r>
              <a:rPr lang="en-US" sz="1600" b="1" i="1" spc="300" dirty="0" err="1">
                <a:solidFill>
                  <a:schemeClr val="tx1"/>
                </a:solidFill>
              </a:rPr>
              <a:t>ConSAT</a:t>
            </a:r>
            <a:r>
              <a:rPr lang="en-US" sz="1600" b="1" i="1" spc="300" dirty="0">
                <a:solidFill>
                  <a:schemeClr val="tx1"/>
                </a:solidFill>
              </a:rPr>
              <a:t>)</a:t>
            </a:r>
            <a:br>
              <a:rPr lang="en-US" sz="1600" b="1" i="1" spc="3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</a:br>
            <a:br>
              <a:rPr lang="en-US" sz="1600" b="1" i="1" spc="3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</a:br>
            <a:r>
              <a:rPr lang="en-US" sz="1600" b="1" i="1" spc="300" dirty="0">
                <a:solidFill>
                  <a:schemeClr val="tx1"/>
                </a:solidFill>
              </a:rPr>
              <a:t>Snow model (NIX)</a:t>
            </a:r>
            <a:r>
              <a:rPr lang="en-US" sz="1600" b="1" i="1" spc="3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  Sascha</a:t>
            </a:r>
            <a:r>
              <a:rPr lang="en-US" sz="1600" b="1" i="1" spc="300" dirty="0">
                <a:solidFill>
                  <a:schemeClr val="tx1"/>
                </a:solidFill>
              </a:rPr>
              <a:t> </a:t>
            </a:r>
            <a:br>
              <a:rPr lang="en-US" sz="1600" b="1" i="1" spc="300" dirty="0">
                <a:solidFill>
                  <a:schemeClr val="tx1"/>
                </a:solidFill>
              </a:rPr>
            </a:br>
            <a:r>
              <a:rPr lang="en-US" sz="1600" b="1" i="1" spc="300" dirty="0">
                <a:solidFill>
                  <a:schemeClr val="tx1"/>
                </a:solidFill>
              </a:rPr>
              <a:t>Urban model (PP CITTA’) </a:t>
            </a:r>
            <a:r>
              <a:rPr lang="en-US" sz="1600" b="1" i="1" spc="300" dirty="0">
                <a:solidFill>
                  <a:schemeClr val="bg1">
                    <a:lumMod val="50000"/>
                  </a:schemeClr>
                </a:solidFill>
                <a:sym typeface="Wingdings" panose="05000000000000000000" pitchFamily="2" charset="2"/>
              </a:rPr>
              <a:t> Jan-Peter</a:t>
            </a:r>
            <a:r>
              <a:rPr lang="en-US" sz="1600" b="1" i="1" spc="300" dirty="0">
                <a:solidFill>
                  <a:schemeClr val="tx1"/>
                </a:solidFill>
              </a:rPr>
              <a:t> </a:t>
            </a:r>
            <a:br>
              <a:rPr lang="en-US" sz="1600" b="1" i="1" spc="300" dirty="0">
                <a:solidFill>
                  <a:schemeClr val="tx1"/>
                </a:solidFill>
              </a:rPr>
            </a:br>
            <a:endParaRPr lang="en-US" b="1" i="1" spc="300" dirty="0">
              <a:solidFill>
                <a:schemeClr val="tx1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8818FA2-5D2B-7A14-7F6B-F927D89681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7" t="-513" r="-117" b="-513"/>
          <a:stretch>
            <a:fillRect/>
          </a:stretch>
        </p:blipFill>
        <p:spPr bwMode="auto">
          <a:xfrm>
            <a:off x="55501" y="41702"/>
            <a:ext cx="1511300" cy="3556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134071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34D40DD-72A7-4033-92FD-A6C146E2E7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266963"/>
            <a:ext cx="8353425" cy="360099"/>
          </a:xfrm>
        </p:spPr>
        <p:txBody>
          <a:bodyPr/>
          <a:lstStyle/>
          <a:p>
            <a:r>
              <a:rPr lang="de-DE" b="1" dirty="0">
                <a:solidFill>
                  <a:srgbClr val="0070C0"/>
                </a:solidFill>
              </a:rPr>
              <a:t>ICON-LAND (ICON-XPP </a:t>
            </a:r>
            <a:r>
              <a:rPr lang="de-DE" b="1" dirty="0" err="1">
                <a:solidFill>
                  <a:srgbClr val="0070C0"/>
                </a:solidFill>
              </a:rPr>
              <a:t>configuration</a:t>
            </a:r>
            <a:r>
              <a:rPr lang="de-DE" b="1" dirty="0">
                <a:solidFill>
                  <a:srgbClr val="0070C0"/>
                </a:solidFill>
              </a:rPr>
              <a:t>)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F1A2E956-078A-4195-AC61-012A8F77D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7" y="1109572"/>
            <a:ext cx="8353426" cy="3147219"/>
          </a:xfrm>
        </p:spPr>
        <p:txBody>
          <a:bodyPr/>
          <a:lstStyle/>
          <a:p>
            <a:pPr marL="377825" indent="-285750"/>
            <a:r>
              <a:rPr lang="de-DE" dirty="0"/>
              <a:t>CERISE (ICON-LAND)</a:t>
            </a:r>
          </a:p>
          <a:p>
            <a:pPr marL="717550" lvl="1" indent="-285750"/>
            <a:r>
              <a:rPr lang="de-DE" dirty="0"/>
              <a:t>New </a:t>
            </a:r>
            <a:r>
              <a:rPr lang="de-DE" b="1" i="1" dirty="0" err="1"/>
              <a:t>snow</a:t>
            </a:r>
            <a:r>
              <a:rPr lang="de-DE" b="1" i="1" dirty="0"/>
              <a:t> </a:t>
            </a:r>
            <a:r>
              <a:rPr lang="de-DE" b="1" i="1" dirty="0" err="1"/>
              <a:t>analysis</a:t>
            </a:r>
            <a:r>
              <a:rPr lang="de-DE" b="1" i="1" dirty="0"/>
              <a:t> </a:t>
            </a:r>
            <a:r>
              <a:rPr lang="de-DE" dirty="0" err="1"/>
              <a:t>applied</a:t>
            </a:r>
            <a:endParaRPr lang="de-DE" dirty="0"/>
          </a:p>
          <a:p>
            <a:pPr marL="717550" lvl="1" indent="-285750"/>
            <a:r>
              <a:rPr lang="de-DE" dirty="0"/>
              <a:t>Time-</a:t>
            </a:r>
            <a:r>
              <a:rPr lang="de-DE" dirty="0" err="1"/>
              <a:t>dependent</a:t>
            </a:r>
            <a:r>
              <a:rPr lang="de-DE" dirty="0"/>
              <a:t> </a:t>
            </a:r>
            <a:r>
              <a:rPr lang="de-DE" b="1" i="1" dirty="0"/>
              <a:t>ESA-CCI </a:t>
            </a:r>
            <a:r>
              <a:rPr lang="de-DE" b="1" i="1" dirty="0" err="1"/>
              <a:t>land</a:t>
            </a:r>
            <a:r>
              <a:rPr lang="de-DE" b="1" i="1" dirty="0"/>
              <a:t> </a:t>
            </a:r>
            <a:r>
              <a:rPr lang="de-DE" b="1" i="1" dirty="0" err="1"/>
              <a:t>cover</a:t>
            </a:r>
            <a:r>
              <a:rPr lang="de-DE" b="1" i="1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ADF7F20-26C7-466D-A460-4F34C82A2F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D4B9B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4-09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2D4B9B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A22D46-A9D4-469F-BAB6-64501AC39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D4B9B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MO-GM</a:t>
            </a:r>
          </a:p>
        </p:txBody>
      </p:sp>
    </p:spTree>
    <p:extLst>
      <p:ext uri="{BB962C8B-B14F-4D97-AF65-F5344CB8AC3E}">
        <p14:creationId xmlns:p14="http://schemas.microsoft.com/office/powerpoint/2010/main" val="16315053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74F50DE8-BEB2-B447-9F8C-680957CEB7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8145" y="589722"/>
            <a:ext cx="7506393" cy="4147930"/>
          </a:xfrm>
          <a:ln>
            <a:noFill/>
          </a:ln>
        </p:spPr>
        <p:txBody>
          <a:bodyPr anchor="ctr"/>
          <a:lstStyle/>
          <a:p>
            <a:pPr algn="ctr">
              <a:lnSpc>
                <a:spcPct val="150000"/>
              </a:lnSpc>
              <a:spcAft>
                <a:spcPts val="1200"/>
              </a:spcAft>
            </a:pPr>
            <a:r>
              <a:rPr lang="en-US" sz="2800" b="1" spc="300" dirty="0" err="1"/>
              <a:t>ConSAT</a:t>
            </a:r>
            <a:endParaRPr lang="en-US" sz="2800" b="1" spc="300" dirty="0"/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US" b="1" i="1" spc="300" dirty="0">
                <a:solidFill>
                  <a:schemeClr val="tx1"/>
                </a:solidFill>
              </a:rPr>
              <a:t>	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8818FA2-5D2B-7A14-7F6B-F927D89681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7" t="-513" r="-117" b="-513"/>
          <a:stretch>
            <a:fillRect/>
          </a:stretch>
        </p:blipFill>
        <p:spPr bwMode="auto">
          <a:xfrm>
            <a:off x="55501" y="41702"/>
            <a:ext cx="1511300" cy="3556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441870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82" name="Picture 12" descr="K:\Deutscher Wetterdienst\Corporate Design Aktuell\DWD-Logo-Komplett\20mm\RGB\Wortbildmarke mit Claim\bmp\Wortbildmarke-und-Claim-positiv-auf-weiss.bmp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8849" y="122897"/>
            <a:ext cx="1721644" cy="459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183" name="Line 23"/>
          <p:cNvSpPr>
            <a:spLocks noChangeShapeType="1"/>
          </p:cNvSpPr>
          <p:nvPr/>
        </p:nvSpPr>
        <p:spPr bwMode="auto">
          <a:xfrm>
            <a:off x="0" y="632648"/>
            <a:ext cx="9108504" cy="17508"/>
          </a:xfrm>
          <a:prstGeom prst="line">
            <a:avLst/>
          </a:prstGeom>
          <a:noFill/>
          <a:ln w="25400">
            <a:solidFill>
              <a:srgbClr val="2D4B9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685800">
              <a:defRPr/>
            </a:pPr>
            <a:endParaRPr lang="en-US" sz="18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50184" name="Text Box 6"/>
          <p:cNvSpPr txBox="1">
            <a:spLocks noChangeArrowheads="1"/>
          </p:cNvSpPr>
          <p:nvPr/>
        </p:nvSpPr>
        <p:spPr bwMode="auto">
          <a:xfrm>
            <a:off x="592466" y="240607"/>
            <a:ext cx="68580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defTabSz="685800">
              <a:spcBef>
                <a:spcPct val="50000"/>
              </a:spcBef>
              <a:buNone/>
              <a:defRPr/>
            </a:pPr>
            <a:r>
              <a:rPr lang="en-US" altLang="en-US" sz="135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15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</a:t>
            </a:r>
            <a:r>
              <a:rPr lang="en-US" altLang="en-US" sz="15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idation of the </a:t>
            </a:r>
            <a:r>
              <a:rPr lang="en-US" altLang="en-US" sz="15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altLang="en-US" sz="15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face-to-</a:t>
            </a:r>
            <a:r>
              <a:rPr lang="en-US" altLang="en-US" sz="15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altLang="en-US" sz="15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mosphere </a:t>
            </a:r>
            <a:r>
              <a:rPr lang="en-US" altLang="en-US" sz="15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altLang="en-US" sz="15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nsfer </a:t>
            </a:r>
            <a:r>
              <a:rPr lang="en-US" altLang="en-US" sz="15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altLang="en-US" sz="1500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AT</a:t>
            </a:r>
            <a:r>
              <a:rPr lang="en-US" altLang="en-US" sz="15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altLang="en-US" sz="15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188" name="Rectangle 73"/>
          <p:cNvSpPr>
            <a:spLocks noChangeArrowheads="1"/>
          </p:cNvSpPr>
          <p:nvPr/>
        </p:nvSpPr>
        <p:spPr bwMode="auto">
          <a:xfrm>
            <a:off x="753891" y="3537055"/>
            <a:ext cx="6978587" cy="125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685800" eaLnBrk="1" hangingPunct="1">
              <a:spcBef>
                <a:spcPct val="0"/>
              </a:spcBef>
              <a:buNone/>
              <a:defRPr/>
            </a:pP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Principal contributor:	 		Matthias Raschendorfer</a:t>
            </a:r>
          </a:p>
          <a:p>
            <a:pPr>
              <a:spcBef>
                <a:spcPts val="225"/>
              </a:spcBef>
              <a:buNone/>
              <a:tabLst>
                <a:tab pos="1409700" algn="l"/>
              </a:tabLst>
              <a:defRPr/>
            </a:pP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Other thematically involved people: 	Jürgen </a:t>
            </a:r>
            <a:r>
              <a:rPr lang="en-GB" altLang="de-DE" sz="1200" b="1" dirty="0" err="1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Helmert</a:t>
            </a: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, Jan-Peter Schulz, </a:t>
            </a:r>
            <a:b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</a:b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			Ekaterina </a:t>
            </a:r>
            <a:r>
              <a:rPr lang="en-GB" altLang="de-DE" sz="1200" b="1" dirty="0" err="1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Maschulskaja</a:t>
            </a: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, Günther </a:t>
            </a:r>
            <a:r>
              <a:rPr lang="en-GB" altLang="de-DE" sz="1200" b="1" dirty="0" err="1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Zängl</a:t>
            </a: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, Martin Köhler,</a:t>
            </a:r>
            <a:b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</a:b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			Roland Wirth, Moritz </a:t>
            </a:r>
            <a:r>
              <a:rPr lang="en-GB" altLang="de-DE" sz="1200" b="1" dirty="0" err="1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Waldmann</a:t>
            </a: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,</a:t>
            </a:r>
            <a:b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</a:b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			Contributors to the COSMO PP/PTs: CITTA, SAINT and</a:t>
            </a:r>
            <a:b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</a:b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			ICON-projects: </a:t>
            </a:r>
            <a:r>
              <a:rPr lang="en-GB" altLang="de-DE" sz="1200" b="1" dirty="0" err="1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ICON_land</a:t>
            </a: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/seamless/c</a:t>
            </a:r>
          </a:p>
        </p:txBody>
      </p:sp>
      <p:sp>
        <p:nvSpPr>
          <p:cNvPr id="50189" name="Rectangle 73"/>
          <p:cNvSpPr>
            <a:spLocks noChangeArrowheads="1"/>
          </p:cNvSpPr>
          <p:nvPr/>
        </p:nvSpPr>
        <p:spPr bwMode="auto">
          <a:xfrm>
            <a:off x="791580" y="1571040"/>
            <a:ext cx="5849689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685800">
              <a:spcBef>
                <a:spcPts val="900"/>
              </a:spcBef>
              <a:buNone/>
              <a:defRPr/>
            </a:pPr>
            <a:r>
              <a:rPr lang="en-GB" altLang="de-DE" sz="1350" b="1" dirty="0">
                <a:solidFill>
                  <a:srgbClr val="3333FF"/>
                </a:solidFill>
                <a:latin typeface="Arial" charset="0"/>
              </a:rPr>
              <a:t>Implicit equilibrium treatment</a:t>
            </a:r>
            <a:r>
              <a:rPr lang="en-GB" altLang="de-DE" sz="1350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GB" altLang="de-DE" sz="1350" dirty="0">
                <a:solidFill>
                  <a:srgbClr val="000000"/>
                </a:solidFill>
                <a:latin typeface="Arial" charset="0"/>
              </a:rPr>
              <a:t>of</a:t>
            </a:r>
            <a:r>
              <a:rPr lang="en-GB" altLang="de-DE" sz="1350" b="1" dirty="0">
                <a:solidFill>
                  <a:srgbClr val="000000"/>
                </a:solidFill>
                <a:latin typeface="Arial" charset="0"/>
              </a:rPr>
              <a:t> surface processes</a:t>
            </a:r>
            <a:endParaRPr lang="en-GB" altLang="de-DE" sz="1350" b="1" u="sng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15" name="Rectangle 73"/>
          <p:cNvSpPr>
            <a:spLocks noChangeArrowheads="1"/>
          </p:cNvSpPr>
          <p:nvPr/>
        </p:nvSpPr>
        <p:spPr bwMode="auto">
          <a:xfrm>
            <a:off x="735949" y="2607677"/>
            <a:ext cx="685876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214313" indent="-214313" defTabSz="6858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GB" altLang="de-DE" sz="1350" dirty="0">
                <a:latin typeface="Arial Narrow" pitchFamily="34" charset="0"/>
              </a:rPr>
              <a:t>According to the concept:</a:t>
            </a:r>
            <a:r>
              <a:rPr lang="en-GB" altLang="de-DE" sz="1350" b="1" dirty="0">
                <a:latin typeface="Arial Narrow" pitchFamily="34" charset="0"/>
              </a:rPr>
              <a:t>  ISUP (in combination with a GBLA)</a:t>
            </a:r>
          </a:p>
        </p:txBody>
      </p:sp>
      <p:pic>
        <p:nvPicPr>
          <p:cNvPr id="22" name="Picture 28" descr="Bundesadler_klein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978" y="4731990"/>
            <a:ext cx="334566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 Box 6"/>
          <p:cNvSpPr txBox="1">
            <a:spLocks noChangeArrowheads="1"/>
          </p:cNvSpPr>
          <p:nvPr/>
        </p:nvSpPr>
        <p:spPr bwMode="auto">
          <a:xfrm>
            <a:off x="131342" y="829496"/>
            <a:ext cx="843710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defTabSz="685800">
              <a:spcBef>
                <a:spcPct val="50000"/>
              </a:spcBef>
              <a:buNone/>
              <a:defRPr/>
            </a:pPr>
            <a:r>
              <a:rPr lang="en-US" altLang="en-US" sz="1600" cap="small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s 2 to 5:  </a:t>
            </a:r>
            <a:r>
              <a:rPr lang="en-US" altLang="en-US" sz="1600" b="1" cap="small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ra-related development</a:t>
            </a:r>
            <a:endParaRPr lang="en-US" altLang="en-US" sz="1800" b="1" cap="small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73">
            <a:extLst>
              <a:ext uri="{FF2B5EF4-FFF2-40B4-BE49-F238E27FC236}">
                <a16:creationId xmlns:a16="http://schemas.microsoft.com/office/drawing/2014/main" id="{8C23E9C5-A7BB-4F2C-9518-1FA6869C59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5949" y="2308630"/>
            <a:ext cx="7822525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214313" indent="-214313" defTabSz="6858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GB" altLang="de-DE" sz="1350" dirty="0">
                <a:latin typeface="Arial Narrow" pitchFamily="34" charset="0"/>
              </a:rPr>
              <a:t>Facing the challenges of </a:t>
            </a:r>
            <a:r>
              <a:rPr lang="en-GB" altLang="de-DE" sz="1350" b="1" dirty="0">
                <a:latin typeface="Arial Narrow" pitchFamily="34" charset="0"/>
              </a:rPr>
              <a:t>increased time steps</a:t>
            </a:r>
            <a:r>
              <a:rPr lang="en-GB" altLang="de-DE" sz="1350" dirty="0">
                <a:latin typeface="Arial Narrow" pitchFamily="34" charset="0"/>
              </a:rPr>
              <a:t> and a </a:t>
            </a:r>
            <a:r>
              <a:rPr lang="en-GB" altLang="de-DE" sz="1350" b="1" dirty="0">
                <a:latin typeface="Arial Narrow" pitchFamily="34" charset="0"/>
              </a:rPr>
              <a:t>more complete physical representation</a:t>
            </a:r>
            <a:r>
              <a:rPr lang="en-GB" altLang="de-DE" sz="1350" dirty="0">
                <a:latin typeface="Arial Narrow" pitchFamily="34" charset="0"/>
              </a:rPr>
              <a:t> of surface-processes</a:t>
            </a:r>
          </a:p>
        </p:txBody>
      </p:sp>
      <p:sp>
        <p:nvSpPr>
          <p:cNvPr id="27" name="Rectangle 73"/>
          <p:cNvSpPr>
            <a:spLocks noChangeArrowheads="1"/>
          </p:cNvSpPr>
          <p:nvPr/>
        </p:nvSpPr>
        <p:spPr bwMode="auto">
          <a:xfrm>
            <a:off x="791581" y="1272642"/>
            <a:ext cx="7776863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685800">
              <a:spcBef>
                <a:spcPts val="900"/>
              </a:spcBef>
              <a:buNone/>
              <a:defRPr/>
            </a:pPr>
            <a:r>
              <a:rPr lang="en-GB" altLang="de-DE" sz="1350" dirty="0">
                <a:latin typeface="Arial" charset="0"/>
              </a:rPr>
              <a:t>Better</a:t>
            </a:r>
            <a:r>
              <a:rPr lang="en-GB" altLang="de-DE" sz="1350" b="1" dirty="0">
                <a:latin typeface="Arial" charset="0"/>
              </a:rPr>
              <a:t> </a:t>
            </a:r>
            <a:r>
              <a:rPr lang="en-GB" altLang="de-DE" sz="1350" b="1" dirty="0">
                <a:solidFill>
                  <a:srgbClr val="3333FF"/>
                </a:solidFill>
                <a:latin typeface="Arial" charset="0"/>
              </a:rPr>
              <a:t>physical representation</a:t>
            </a:r>
            <a:r>
              <a:rPr lang="en-GB" altLang="de-DE" sz="1350" b="1" dirty="0">
                <a:latin typeface="Arial" charset="0"/>
              </a:rPr>
              <a:t> </a:t>
            </a:r>
            <a:r>
              <a:rPr lang="en-GB" altLang="de-DE" sz="1350" dirty="0">
                <a:latin typeface="Arial" charset="0"/>
              </a:rPr>
              <a:t>of  the </a:t>
            </a:r>
            <a:r>
              <a:rPr lang="en-GB" altLang="de-DE" sz="1350" b="1" dirty="0">
                <a:latin typeface="Arial" charset="0"/>
              </a:rPr>
              <a:t>roughness cover </a:t>
            </a:r>
            <a:r>
              <a:rPr lang="en-GB" altLang="de-DE" sz="1350" b="1" dirty="0">
                <a:solidFill>
                  <a:srgbClr val="000000"/>
                </a:solidFill>
                <a:latin typeface="Arial" charset="0"/>
              </a:rPr>
              <a:t>(canopy) </a:t>
            </a:r>
            <a:r>
              <a:rPr lang="en-GB" altLang="de-DE" sz="1350" dirty="0">
                <a:solidFill>
                  <a:srgbClr val="000000"/>
                </a:solidFill>
                <a:latin typeface="Arial" charset="0"/>
              </a:rPr>
              <a:t>in the tiled model</a:t>
            </a:r>
            <a:endParaRPr lang="en-GB" altLang="de-DE" sz="1350" u="sng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28" name="Rectangle 73"/>
          <p:cNvSpPr>
            <a:spLocks noChangeArrowheads="1"/>
          </p:cNvSpPr>
          <p:nvPr/>
        </p:nvSpPr>
        <p:spPr bwMode="auto">
          <a:xfrm>
            <a:off x="777531" y="1869438"/>
            <a:ext cx="8366469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685800">
              <a:spcBef>
                <a:spcPts val="900"/>
              </a:spcBef>
              <a:buNone/>
              <a:defRPr/>
            </a:pPr>
            <a:r>
              <a:rPr lang="en-GB" altLang="de-DE" sz="1350" dirty="0">
                <a:solidFill>
                  <a:srgbClr val="000000"/>
                </a:solidFill>
                <a:latin typeface="Arial" charset="0"/>
              </a:rPr>
              <a:t>Related</a:t>
            </a:r>
            <a:r>
              <a:rPr lang="en-GB" altLang="de-DE" sz="1350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GB" altLang="de-DE" sz="1350" b="1" dirty="0">
                <a:solidFill>
                  <a:srgbClr val="3333FF"/>
                </a:solidFill>
                <a:latin typeface="Arial" charset="0"/>
              </a:rPr>
              <a:t>overall revision</a:t>
            </a:r>
            <a:r>
              <a:rPr lang="en-GB" altLang="de-DE" sz="1350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GB" altLang="de-DE" sz="1350" dirty="0">
                <a:solidFill>
                  <a:srgbClr val="000000"/>
                </a:solidFill>
                <a:latin typeface="Arial" charset="0"/>
              </a:rPr>
              <a:t>of</a:t>
            </a:r>
            <a:r>
              <a:rPr lang="en-GB" altLang="de-DE" sz="1350" b="1" dirty="0">
                <a:solidFill>
                  <a:srgbClr val="000000"/>
                </a:solidFill>
                <a:latin typeface="Arial" charset="0"/>
              </a:rPr>
              <a:t> TERRA, </a:t>
            </a:r>
            <a:r>
              <a:rPr lang="en-GB" altLang="de-DE" sz="1350" dirty="0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en-GB" altLang="de-DE" sz="1350" b="1" dirty="0">
                <a:solidFill>
                  <a:srgbClr val="000000"/>
                </a:solidFill>
                <a:latin typeface="Arial" charset="0"/>
              </a:rPr>
              <a:t> coupling of snow </a:t>
            </a:r>
            <a:r>
              <a:rPr lang="en-GB" altLang="de-DE" sz="1350" dirty="0">
                <a:solidFill>
                  <a:srgbClr val="000000"/>
                </a:solidFill>
                <a:latin typeface="Arial" charset="0"/>
              </a:rPr>
              <a:t>and </a:t>
            </a:r>
            <a:r>
              <a:rPr lang="en-GB" altLang="de-DE" sz="1350" b="1" dirty="0">
                <a:solidFill>
                  <a:srgbClr val="000000"/>
                </a:solidFill>
                <a:latin typeface="Arial" charset="0"/>
              </a:rPr>
              <a:t>dynamical snow-tiling</a:t>
            </a:r>
          </a:p>
        </p:txBody>
      </p:sp>
      <p:sp>
        <p:nvSpPr>
          <p:cNvPr id="20" name="Text Box 7">
            <a:extLst>
              <a:ext uri="{FF2B5EF4-FFF2-40B4-BE49-F238E27FC236}">
                <a16:creationId xmlns:a16="http://schemas.microsoft.com/office/drawing/2014/main" id="{76DA2237-F97F-4012-B574-72EE5B09C6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06466" y="4948238"/>
            <a:ext cx="1016304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defTabSz="685800">
              <a:spcBef>
                <a:spcPct val="50000"/>
              </a:spcBef>
              <a:buNone/>
              <a:defRPr/>
            </a:pPr>
            <a:r>
              <a:rPr lang="en-GB" altLang="de-DE" sz="750" dirty="0">
                <a:solidFill>
                  <a:srgbClr val="000000"/>
                </a:solidFill>
                <a:latin typeface="Arial" panose="020B0604020202020204" pitchFamily="34" charset="0"/>
              </a:rPr>
              <a:t>Matthias Raschendorfer</a:t>
            </a:r>
            <a:endParaRPr lang="en-GB" altLang="de-DE" sz="9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4" name="Line 23">
            <a:extLst>
              <a:ext uri="{FF2B5EF4-FFF2-40B4-BE49-F238E27FC236}">
                <a16:creationId xmlns:a16="http://schemas.microsoft.com/office/drawing/2014/main" id="{E368F08D-C6E0-477C-AD4C-4B718193E8A2}"/>
              </a:ext>
            </a:extLst>
          </p:cNvPr>
          <p:cNvSpPr>
            <a:spLocks noChangeShapeType="1"/>
          </p:cNvSpPr>
          <p:nvPr/>
        </p:nvSpPr>
        <p:spPr bwMode="auto">
          <a:xfrm>
            <a:off x="305526" y="4893468"/>
            <a:ext cx="8838474" cy="1"/>
          </a:xfrm>
          <a:prstGeom prst="line">
            <a:avLst/>
          </a:prstGeom>
          <a:noFill/>
          <a:ln w="15240">
            <a:solidFill>
              <a:srgbClr val="2D4B9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685800">
              <a:defRPr/>
            </a:pPr>
            <a:endParaRPr lang="de-DE" sz="12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44" descr="logo">
            <a:extLst>
              <a:ext uri="{FF2B5EF4-FFF2-40B4-BE49-F238E27FC236}">
                <a16:creationId xmlns:a16="http://schemas.microsoft.com/office/drawing/2014/main" id="{B9D4FE61-9EA5-4097-A4BE-2420A785A7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42" y="4915766"/>
            <a:ext cx="737392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 Box 13">
            <a:extLst>
              <a:ext uri="{FF2B5EF4-FFF2-40B4-BE49-F238E27FC236}">
                <a16:creationId xmlns:a16="http://schemas.microsoft.com/office/drawing/2014/main" id="{0EDBEE19-A879-4DAF-83F7-07F1FF64CF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94165" y="4948014"/>
            <a:ext cx="2214340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defTabSz="685800">
              <a:spcBef>
                <a:spcPct val="0"/>
              </a:spcBef>
              <a:buNone/>
              <a:defRPr/>
            </a:pPr>
            <a:r>
              <a:rPr lang="en-GB" altLang="de-DE" sz="750" dirty="0">
                <a:solidFill>
                  <a:srgbClr val="000000"/>
                </a:solidFill>
                <a:latin typeface="Arial" panose="020B0604020202020204" pitchFamily="34" charset="0"/>
              </a:rPr>
              <a:t>COSMO-GM WG3ab Offenbach  2024</a:t>
            </a:r>
          </a:p>
        </p:txBody>
      </p:sp>
      <p:sp>
        <p:nvSpPr>
          <p:cNvPr id="2" name="Rectangle 73">
            <a:extLst>
              <a:ext uri="{FF2B5EF4-FFF2-40B4-BE49-F238E27FC236}">
                <a16:creationId xmlns:a16="http://schemas.microsoft.com/office/drawing/2014/main" id="{09988FCA-9FE9-FE21-F28F-526CF37197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5949" y="2913905"/>
            <a:ext cx="7672102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214313" indent="-214313" defTabSz="6858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GB" altLang="de-DE" sz="1350" dirty="0">
                <a:latin typeface="Arial Narrow" pitchFamily="34" charset="0"/>
              </a:rPr>
              <a:t>Concern modules </a:t>
            </a:r>
            <a:r>
              <a:rPr lang="en-GB" altLang="de-DE" sz="1350" b="1" dirty="0" err="1">
                <a:latin typeface="Arial Narrow" pitchFamily="34" charset="0"/>
              </a:rPr>
              <a:t>sfc_terra</a:t>
            </a:r>
            <a:r>
              <a:rPr lang="en-GB" altLang="de-DE" sz="1350" dirty="0">
                <a:latin typeface="Arial Narrow" pitchFamily="34" charset="0"/>
              </a:rPr>
              <a:t>, </a:t>
            </a:r>
            <a:r>
              <a:rPr lang="en-GB" altLang="de-DE" sz="1350" b="1" dirty="0" err="1">
                <a:latin typeface="Arial Narrow" pitchFamily="34" charset="0"/>
              </a:rPr>
              <a:t>turb_transfer</a:t>
            </a:r>
            <a:r>
              <a:rPr lang="en-GB" altLang="de-DE" sz="1350" b="1" dirty="0">
                <a:latin typeface="Arial Narrow" pitchFamily="34" charset="0"/>
              </a:rPr>
              <a:t> </a:t>
            </a:r>
            <a:r>
              <a:rPr lang="en-GB" altLang="de-DE" sz="1350" dirty="0">
                <a:latin typeface="Arial Narrow" pitchFamily="34" charset="0"/>
              </a:rPr>
              <a:t>(</a:t>
            </a:r>
            <a:r>
              <a:rPr lang="en-GB" altLang="de-DE" sz="1350" dirty="0" err="1">
                <a:latin typeface="Arial Narrow" pitchFamily="34" charset="0"/>
              </a:rPr>
              <a:t>turbtran</a:t>
            </a:r>
            <a:r>
              <a:rPr lang="en-GB" altLang="de-DE" sz="1350" dirty="0">
                <a:latin typeface="Arial Narrow" pitchFamily="34" charset="0"/>
              </a:rPr>
              <a:t>), and including </a:t>
            </a:r>
            <a:r>
              <a:rPr lang="en-GB" altLang="de-DE" sz="1350" b="1" dirty="0">
                <a:latin typeface="Arial Narrow" pitchFamily="34" charset="0"/>
              </a:rPr>
              <a:t>ICON interfaces </a:t>
            </a:r>
            <a:r>
              <a:rPr lang="en-GB" altLang="de-DE" sz="1350" dirty="0">
                <a:latin typeface="Arial Narrow" pitchFamily="34" charset="0"/>
              </a:rPr>
              <a:t>and </a:t>
            </a:r>
            <a:r>
              <a:rPr lang="en-GB" altLang="de-DE" sz="1350" b="1" dirty="0">
                <a:latin typeface="Arial Narrow" pitchFamily="34" charset="0"/>
              </a:rPr>
              <a:t>utility routines</a:t>
            </a:r>
          </a:p>
        </p:txBody>
      </p:sp>
    </p:spTree>
    <p:extLst>
      <p:ext uri="{BB962C8B-B14F-4D97-AF65-F5344CB8AC3E}">
        <p14:creationId xmlns:p14="http://schemas.microsoft.com/office/powerpoint/2010/main" val="3658874482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3">
            <a:extLst>
              <a:ext uri="{FF2B5EF4-FFF2-40B4-BE49-F238E27FC236}">
                <a16:creationId xmlns:a16="http://schemas.microsoft.com/office/drawing/2014/main" id="{2348782E-1AFC-41D3-9D28-49123E7276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14" y="712912"/>
            <a:ext cx="8532948" cy="805349"/>
          </a:xfrm>
          <a:prstGeom prst="rect">
            <a:avLst/>
          </a:prstGeom>
          <a:solidFill>
            <a:srgbClr val="92D050">
              <a:alpha val="42000"/>
            </a:srgbClr>
          </a:solidFill>
          <a:ln>
            <a:noFill/>
          </a:ln>
        </p:spPr>
        <p:txBody>
          <a:bodyPr wrap="square" anchor="ctr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357188" indent="-26987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87313" lvl="1" indent="0" defTabSz="685800">
              <a:spcBef>
                <a:spcPts val="450"/>
              </a:spcBef>
              <a:buNone/>
              <a:defRPr/>
            </a:pPr>
            <a:r>
              <a:rPr lang="en-GB" altLang="de-DE" sz="1400" b="1" dirty="0">
                <a:solidFill>
                  <a:srgbClr val="000000"/>
                </a:solidFill>
                <a:latin typeface="Arial Narrow" pitchFamily="34" charset="0"/>
              </a:rPr>
              <a:t>Task 2</a:t>
            </a:r>
            <a:r>
              <a:rPr lang="en-GB" altLang="de-DE" sz="1400" dirty="0">
                <a:solidFill>
                  <a:srgbClr val="000000"/>
                </a:solidFill>
                <a:latin typeface="Arial Narrow" pitchFamily="34" charset="0"/>
              </a:rPr>
              <a:t>:  Major revision of surface-layer processes towards an </a:t>
            </a:r>
            <a:r>
              <a:rPr lang="en-GB" altLang="de-DE" sz="1400" b="1" dirty="0">
                <a:solidFill>
                  <a:srgbClr val="000000"/>
                </a:solidFill>
                <a:latin typeface="Arial Narrow" pitchFamily="34" charset="0"/>
              </a:rPr>
              <a:t>implicit treatment of surface temperature </a:t>
            </a:r>
          </a:p>
          <a:p>
            <a:pPr marL="539354" lvl="1" defTabSz="685800"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To facilitate the implicit coupling of a </a:t>
            </a:r>
            <a:r>
              <a:rPr lang="en-GB" altLang="de-DE" sz="1200" b="1" i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fractional snow-cover </a:t>
            </a: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and of a </a:t>
            </a:r>
            <a:r>
              <a:rPr lang="en-GB" altLang="de-DE" sz="1200" b="1" i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land-use roughness (canopy)</a:t>
            </a:r>
            <a:endParaRPr lang="en-GB" altLang="de-DE" sz="1200" i="1" dirty="0">
              <a:solidFill>
                <a:schemeClr val="bg1">
                  <a:lumMod val="50000"/>
                </a:schemeClr>
              </a:solidFill>
              <a:latin typeface="Arial Narrow" pitchFamily="34" charset="0"/>
            </a:endParaRPr>
          </a:p>
          <a:p>
            <a:pPr marL="539354" lvl="1" defTabSz="685800"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To remove the current </a:t>
            </a:r>
            <a:r>
              <a:rPr lang="en-GB" altLang="de-DE" sz="1200" b="1" i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numerical instability</a:t>
            </a:r>
            <a:r>
              <a:rPr lang="en-GB" altLang="de-DE" sz="1200" i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 </a:t>
            </a: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at </a:t>
            </a:r>
            <a:r>
              <a:rPr lang="en-GB" altLang="de-DE" sz="1200" b="1" i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large time steps</a:t>
            </a:r>
          </a:p>
        </p:txBody>
      </p:sp>
      <p:sp>
        <p:nvSpPr>
          <p:cNvPr id="3" name="Rectangle 73">
            <a:extLst>
              <a:ext uri="{FF2B5EF4-FFF2-40B4-BE49-F238E27FC236}">
                <a16:creationId xmlns:a16="http://schemas.microsoft.com/office/drawing/2014/main" id="{E1F99094-9A2F-42CD-9699-0B4EBD57FF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7634" y="110100"/>
            <a:ext cx="6191315" cy="414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357188" indent="-26987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65485" lvl="1" indent="0" algn="ctr" defTabSz="685800">
              <a:lnSpc>
                <a:spcPct val="150000"/>
              </a:lnSpc>
              <a:spcBef>
                <a:spcPts val="450"/>
              </a:spcBef>
              <a:buNone/>
              <a:defRPr/>
            </a:pPr>
            <a:r>
              <a:rPr lang="en-GB" altLang="de-DE" sz="1600" b="1" dirty="0">
                <a:solidFill>
                  <a:srgbClr val="0070C0"/>
                </a:solidFill>
                <a:latin typeface="Arial Narrow" pitchFamily="34" charset="0"/>
              </a:rPr>
              <a:t>Status of  </a:t>
            </a:r>
            <a:r>
              <a:rPr lang="en-GB" altLang="de-DE" sz="1600" b="1" dirty="0" err="1">
                <a:solidFill>
                  <a:srgbClr val="0070C0"/>
                </a:solidFill>
                <a:latin typeface="Arial Narrow" pitchFamily="34" charset="0"/>
              </a:rPr>
              <a:t>ConSAT</a:t>
            </a:r>
            <a:r>
              <a:rPr lang="en-GB" altLang="de-DE" sz="1600" b="1" dirty="0">
                <a:solidFill>
                  <a:srgbClr val="0070C0"/>
                </a:solidFill>
                <a:latin typeface="Arial Narrow" pitchFamily="34" charset="0"/>
              </a:rPr>
              <a:t>-development related to TERRA (</a:t>
            </a:r>
            <a:r>
              <a:rPr lang="en-GB" altLang="de-DE" sz="1600" b="1" i="1" dirty="0">
                <a:solidFill>
                  <a:srgbClr val="0070C0"/>
                </a:solidFill>
                <a:latin typeface="Arial Narrow" pitchFamily="34" charset="0"/>
              </a:rPr>
              <a:t>ICON</a:t>
            </a:r>
            <a:r>
              <a:rPr lang="en-GB" altLang="de-DE" sz="1600" b="1" dirty="0">
                <a:solidFill>
                  <a:srgbClr val="0070C0"/>
                </a:solidFill>
                <a:latin typeface="Arial Narrow" pitchFamily="34" charset="0"/>
              </a:rPr>
              <a:t> </a:t>
            </a:r>
            <a:r>
              <a:rPr lang="en-GB" altLang="de-DE" sz="1600" b="1" i="1" dirty="0">
                <a:solidFill>
                  <a:srgbClr val="0070C0"/>
                </a:solidFill>
                <a:latin typeface="Arial Narrow" pitchFamily="34" charset="0"/>
              </a:rPr>
              <a:t>branch </a:t>
            </a:r>
            <a:r>
              <a:rPr lang="en-GB" altLang="de-DE" sz="1600" b="1" i="1" dirty="0" err="1">
                <a:solidFill>
                  <a:srgbClr val="0070C0"/>
                </a:solidFill>
                <a:latin typeface="Arial Narrow" pitchFamily="34" charset="0"/>
              </a:rPr>
              <a:t>mrsurf</a:t>
            </a:r>
            <a:r>
              <a:rPr lang="en-GB" altLang="de-DE" sz="1600" b="1" i="1" dirty="0">
                <a:solidFill>
                  <a:srgbClr val="0070C0"/>
                </a:solidFill>
                <a:latin typeface="Arial Narrow" pitchFamily="34" charset="0"/>
              </a:rPr>
              <a:t> </a:t>
            </a:r>
            <a:r>
              <a:rPr lang="en-GB" altLang="de-DE" sz="1600" b="1" dirty="0">
                <a:solidFill>
                  <a:srgbClr val="0070C0"/>
                </a:solidFill>
                <a:latin typeface="Arial Narrow" pitchFamily="34" charset="0"/>
              </a:rPr>
              <a:t>)</a:t>
            </a:r>
          </a:p>
        </p:txBody>
      </p:sp>
      <p:sp>
        <p:nvSpPr>
          <p:cNvPr id="5" name="Rectangle 73">
            <a:extLst>
              <a:ext uri="{FF2B5EF4-FFF2-40B4-BE49-F238E27FC236}">
                <a16:creationId xmlns:a16="http://schemas.microsoft.com/office/drawing/2014/main" id="{2348782E-1AFC-41D3-9D28-49123E7276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4197" y="1597026"/>
            <a:ext cx="6413334" cy="276999"/>
          </a:xfrm>
          <a:prstGeom prst="rect">
            <a:avLst/>
          </a:prstGeom>
          <a:solidFill>
            <a:srgbClr val="92D050">
              <a:alpha val="42000"/>
            </a:srgbClr>
          </a:solidFill>
          <a:ln>
            <a:noFill/>
          </a:ln>
        </p:spPr>
        <p:txBody>
          <a:bodyPr wrap="square" anchor="ctr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357188" indent="-26987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65485" lvl="1" indent="0" defTabSz="685800">
              <a:spcBef>
                <a:spcPts val="450"/>
              </a:spcBef>
              <a:buNone/>
              <a:defRPr/>
            </a:pP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Task 2.1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:  New set-up of implicitly coupled 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heat equations</a:t>
            </a:r>
            <a:endParaRPr lang="en-GB" altLang="de-DE" sz="1200" b="1" u="sng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7" name="Text Box 7">
            <a:extLst>
              <a:ext uri="{FF2B5EF4-FFF2-40B4-BE49-F238E27FC236}">
                <a16:creationId xmlns:a16="http://schemas.microsoft.com/office/drawing/2014/main" id="{76DA2237-F97F-4012-B574-72EE5B09C6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06466" y="4948238"/>
            <a:ext cx="1016304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defTabSz="685800">
              <a:spcBef>
                <a:spcPct val="50000"/>
              </a:spcBef>
              <a:buNone/>
              <a:defRPr/>
            </a:pPr>
            <a:r>
              <a:rPr lang="en-GB" altLang="de-DE" sz="750" dirty="0">
                <a:solidFill>
                  <a:srgbClr val="000000"/>
                </a:solidFill>
                <a:latin typeface="Arial" panose="020B0604020202020204" pitchFamily="34" charset="0"/>
              </a:rPr>
              <a:t>Matthias Raschendorfer</a:t>
            </a:r>
            <a:endParaRPr lang="en-GB" altLang="de-DE" sz="9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Line 23">
            <a:extLst>
              <a:ext uri="{FF2B5EF4-FFF2-40B4-BE49-F238E27FC236}">
                <a16:creationId xmlns:a16="http://schemas.microsoft.com/office/drawing/2014/main" id="{E368F08D-C6E0-477C-AD4C-4B718193E8A2}"/>
              </a:ext>
            </a:extLst>
          </p:cNvPr>
          <p:cNvSpPr>
            <a:spLocks noChangeShapeType="1"/>
          </p:cNvSpPr>
          <p:nvPr/>
        </p:nvSpPr>
        <p:spPr bwMode="auto">
          <a:xfrm>
            <a:off x="305526" y="4893468"/>
            <a:ext cx="8838474" cy="1"/>
          </a:xfrm>
          <a:prstGeom prst="line">
            <a:avLst/>
          </a:prstGeom>
          <a:noFill/>
          <a:ln w="15240">
            <a:solidFill>
              <a:srgbClr val="2D4B9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685800">
              <a:defRPr/>
            </a:pPr>
            <a:endParaRPr lang="de-DE" sz="12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44" descr="logo">
            <a:extLst>
              <a:ext uri="{FF2B5EF4-FFF2-40B4-BE49-F238E27FC236}">
                <a16:creationId xmlns:a16="http://schemas.microsoft.com/office/drawing/2014/main" id="{B9D4FE61-9EA5-4097-A4BE-2420A785A7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42" y="4915766"/>
            <a:ext cx="737392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8" descr="Bundesadler_kleiner">
            <a:extLst>
              <a:ext uri="{FF2B5EF4-FFF2-40B4-BE49-F238E27FC236}">
                <a16:creationId xmlns:a16="http://schemas.microsoft.com/office/drawing/2014/main" id="{F5E929A3-8EAE-4DFF-A53C-70891A3D31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978" y="4731990"/>
            <a:ext cx="334566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13">
            <a:extLst>
              <a:ext uri="{FF2B5EF4-FFF2-40B4-BE49-F238E27FC236}">
                <a16:creationId xmlns:a16="http://schemas.microsoft.com/office/drawing/2014/main" id="{0EDBEE19-A879-4DAF-83F7-07F1FF64CF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94165" y="4948014"/>
            <a:ext cx="2214340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defTabSz="685800">
              <a:spcBef>
                <a:spcPct val="0"/>
              </a:spcBef>
              <a:buNone/>
              <a:defRPr/>
            </a:pPr>
            <a:r>
              <a:rPr lang="en-GB" altLang="de-DE" sz="750" dirty="0">
                <a:solidFill>
                  <a:srgbClr val="000000"/>
                </a:solidFill>
                <a:latin typeface="Arial" panose="020B0604020202020204" pitchFamily="34" charset="0"/>
              </a:rPr>
              <a:t>COSMO-GM WG3ab Offenbach  2024</a:t>
            </a:r>
          </a:p>
        </p:txBody>
      </p:sp>
      <p:sp>
        <p:nvSpPr>
          <p:cNvPr id="12" name="Rectangle 73">
            <a:extLst>
              <a:ext uri="{FF2B5EF4-FFF2-40B4-BE49-F238E27FC236}">
                <a16:creationId xmlns:a16="http://schemas.microsoft.com/office/drawing/2014/main" id="{A2D6B49F-DC4D-3D82-99EF-7CF61332F4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4197" y="1930017"/>
            <a:ext cx="6413334" cy="276999"/>
          </a:xfrm>
          <a:prstGeom prst="rect">
            <a:avLst/>
          </a:prstGeom>
          <a:solidFill>
            <a:srgbClr val="92D050">
              <a:alpha val="42000"/>
            </a:srgbClr>
          </a:solidFill>
          <a:ln>
            <a:noFill/>
          </a:ln>
        </p:spPr>
        <p:txBody>
          <a:bodyPr wrap="square" anchor="ctr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357188" indent="-26987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65485" lvl="1" indent="0" defTabSz="685800">
              <a:spcBef>
                <a:spcPts val="450"/>
              </a:spcBef>
              <a:buNone/>
              <a:defRPr/>
            </a:pP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Task 2.2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:  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Adaptations 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to an implicit treatment </a:t>
            </a:r>
            <a:endParaRPr lang="en-GB" altLang="de-DE" sz="1200" u="sng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3" name="Rectangle 73">
            <a:extLst>
              <a:ext uri="{FF2B5EF4-FFF2-40B4-BE49-F238E27FC236}">
                <a16:creationId xmlns:a16="http://schemas.microsoft.com/office/drawing/2014/main" id="{45840476-8D09-04EA-698B-81F404F0F5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537" y="2203840"/>
            <a:ext cx="6203993" cy="1520929"/>
          </a:xfrm>
          <a:prstGeom prst="rect">
            <a:avLst/>
          </a:prstGeom>
          <a:solidFill>
            <a:srgbClr val="92D050">
              <a:alpha val="42000"/>
            </a:srgbClr>
          </a:solidFill>
          <a:ln>
            <a:noFill/>
          </a:ln>
        </p:spPr>
        <p:txBody>
          <a:bodyPr wrap="square" anchor="ctr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357188" indent="-26987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lvl="1" defTabSz="685800">
              <a:spcBef>
                <a:spcPts val="450"/>
              </a:spcBef>
              <a:buFont typeface="Courier New" panose="02070309020205020404" pitchFamily="49" charset="0"/>
              <a:buChar char="o"/>
              <a:defRPr/>
            </a:pP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Forming of </a:t>
            </a: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dew/rime </a:t>
            </a: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and </a:t>
            </a: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water-phase transitions of precipitation</a:t>
            </a: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 at the surface</a:t>
            </a:r>
          </a:p>
          <a:p>
            <a:pPr lvl="1" defTabSz="685800">
              <a:spcBef>
                <a:spcPts val="450"/>
              </a:spcBef>
              <a:buFont typeface="Courier New" panose="02070309020205020404" pitchFamily="49" charset="0"/>
              <a:buChar char="o"/>
              <a:defRPr/>
            </a:pP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Evaporation </a:t>
            </a: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of </a:t>
            </a: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interception water</a:t>
            </a: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 or of the </a:t>
            </a: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snow-cover</a:t>
            </a:r>
          </a:p>
          <a:p>
            <a:pPr lvl="1" defTabSz="685800">
              <a:spcBef>
                <a:spcPts val="450"/>
              </a:spcBef>
              <a:buFont typeface="Courier New" panose="02070309020205020404" pitchFamily="49" charset="0"/>
              <a:buChar char="o"/>
              <a:defRPr/>
            </a:pP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Calculation of </a:t>
            </a:r>
            <a:r>
              <a:rPr lang="en-GB" altLang="de-DE" sz="1200" dirty="0" err="1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sn</a:t>
            </a: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-fraction and of updates</a:t>
            </a: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 </a:t>
            </a: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for</a:t>
            </a: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 dynamical </a:t>
            </a:r>
            <a:r>
              <a:rPr lang="en-GB" altLang="de-DE" sz="1200" b="1" dirty="0" err="1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sn</a:t>
            </a: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-tiles</a:t>
            </a:r>
          </a:p>
          <a:p>
            <a:pPr lvl="1" defTabSz="685800">
              <a:spcBef>
                <a:spcPts val="450"/>
              </a:spcBef>
              <a:buFont typeface="Courier New" panose="02070309020205020404" pitchFamily="49" charset="0"/>
              <a:buChar char="o"/>
              <a:defRPr/>
            </a:pP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Snow-smoothing </a:t>
            </a: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of surface roughness</a:t>
            </a:r>
          </a:p>
          <a:p>
            <a:pPr lvl="1" defTabSz="685800">
              <a:spcBef>
                <a:spcPts val="450"/>
              </a:spcBef>
              <a:buFont typeface="Courier New" panose="02070309020205020404" pitchFamily="49" charset="0"/>
              <a:buChar char="o"/>
              <a:defRPr/>
            </a:pP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Various now detrimental </a:t>
            </a: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limitations</a:t>
            </a: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 related to the </a:t>
            </a: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former explicit treatment</a:t>
            </a:r>
          </a:p>
          <a:p>
            <a:pPr lvl="1" defTabSz="685800">
              <a:spcBef>
                <a:spcPts val="450"/>
              </a:spcBef>
              <a:buFont typeface="Courier New" panose="02070309020205020404" pitchFamily="49" charset="0"/>
              <a:buChar char="o"/>
              <a:defRPr/>
            </a:pP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Other model parts</a:t>
            </a: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, which are so far </a:t>
            </a: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based on the assumption </a:t>
            </a:r>
            <a:r>
              <a:rPr lang="en-GB" altLang="de-DE" sz="1200" b="1" dirty="0" err="1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Tg</a:t>
            </a: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 = T_B1</a:t>
            </a:r>
          </a:p>
        </p:txBody>
      </p:sp>
      <p:sp>
        <p:nvSpPr>
          <p:cNvPr id="14" name="Rectangle 73">
            <a:extLst>
              <a:ext uri="{FF2B5EF4-FFF2-40B4-BE49-F238E27FC236}">
                <a16:creationId xmlns:a16="http://schemas.microsoft.com/office/drawing/2014/main" id="{1274DD41-6ED8-167D-8B6A-DF67DF0964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537" y="3725345"/>
            <a:ext cx="6203993" cy="276999"/>
          </a:xfrm>
          <a:prstGeom prst="rect">
            <a:avLst/>
          </a:prstGeom>
          <a:solidFill>
            <a:srgbClr val="FF7C80">
              <a:alpha val="61000"/>
            </a:srgbClr>
          </a:solidFill>
          <a:ln>
            <a:noFill/>
          </a:ln>
        </p:spPr>
        <p:txBody>
          <a:bodyPr wrap="square" anchor="ctr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357188" indent="-26987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lvl="1" defTabSz="685800">
              <a:spcBef>
                <a:spcPts val="450"/>
              </a:spcBef>
              <a:buFont typeface="Courier New" panose="02070309020205020404" pitchFamily="49" charset="0"/>
              <a:buChar char="o"/>
              <a:defRPr/>
            </a:pP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SL snow-melting</a:t>
            </a:r>
          </a:p>
        </p:txBody>
      </p:sp>
      <p:sp>
        <p:nvSpPr>
          <p:cNvPr id="16" name="Rectangle 73">
            <a:extLst>
              <a:ext uri="{FF2B5EF4-FFF2-40B4-BE49-F238E27FC236}">
                <a16:creationId xmlns:a16="http://schemas.microsoft.com/office/drawing/2014/main" id="{2F58748B-6D2D-CA87-4C1E-CD8A6AAB2F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524" y="4175633"/>
            <a:ext cx="8540492" cy="525785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357188" indent="-26987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87313" lvl="1" indent="0" defTabSz="685800">
              <a:spcBef>
                <a:spcPts val="450"/>
              </a:spcBef>
              <a:buNone/>
              <a:defRPr/>
            </a:pP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  <a:sym typeface="Wingdings" pitchFamily="2" charset="2"/>
              </a:rPr>
              <a:t> 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No significant impact in most cases, but no oscillations of NS variables at large time steps: 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artificial flux-limiter is not needed anymore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!</a:t>
            </a:r>
          </a:p>
          <a:p>
            <a:pPr marL="87313" lvl="1" indent="0" defTabSz="685800">
              <a:spcBef>
                <a:spcPts val="450"/>
              </a:spcBef>
              <a:buNone/>
              <a:defRPr/>
            </a:pP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  <a:sym typeface="Wingdings" pitchFamily="2" charset="2"/>
              </a:rPr>
              <a:t> Previous e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xtra-code for a multi-layer snow treatment removed: 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preparation for a new multi-layer snow implementation 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(task 3)</a:t>
            </a:r>
            <a:endParaRPr lang="en-GB" altLang="de-DE" sz="12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9" name="Text Box 56">
            <a:extLst>
              <a:ext uri="{FF2B5EF4-FFF2-40B4-BE49-F238E27FC236}">
                <a16:creationId xmlns:a16="http://schemas.microsoft.com/office/drawing/2014/main" id="{C025B497-FDA8-1912-073D-0B93BB61ED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54032" y="3710699"/>
            <a:ext cx="93610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pending</a:t>
            </a:r>
            <a:endParaRPr kumimoji="0" lang="en-US" altLang="de-DE" sz="1100" b="0" i="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12617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3">
            <a:extLst>
              <a:ext uri="{FF2B5EF4-FFF2-40B4-BE49-F238E27FC236}">
                <a16:creationId xmlns:a16="http://schemas.microsoft.com/office/drawing/2014/main" id="{2348782E-1AFC-41D3-9D28-49123E7276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14" y="1111490"/>
            <a:ext cx="6966774" cy="774571"/>
          </a:xfrm>
          <a:prstGeom prst="rect">
            <a:avLst/>
          </a:prstGeom>
          <a:solidFill>
            <a:srgbClr val="92D050">
              <a:alpha val="42000"/>
            </a:srgbClr>
          </a:solidFill>
          <a:ln>
            <a:noFill/>
          </a:ln>
        </p:spPr>
        <p:txBody>
          <a:bodyPr wrap="square" anchor="ctr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357188" indent="-26987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65485" lvl="1" indent="0" defTabSz="685800">
              <a:spcBef>
                <a:spcPts val="450"/>
              </a:spcBef>
              <a:buNone/>
              <a:defRPr/>
            </a:pP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Task 3.1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:  Extension of the 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single coupled linear system of heat equations 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in Terra by </a:t>
            </a:r>
          </a:p>
          <a:p>
            <a:pPr marL="470297" lvl="1" defTabSz="685800">
              <a:spcBef>
                <a:spcPts val="450"/>
              </a:spcBef>
              <a:buFont typeface="Courier New" panose="02070309020205020404" pitchFamily="49" charset="0"/>
              <a:buChar char="o"/>
              <a:defRPr/>
            </a:pP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ML approach </a:t>
            </a: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for the snow-cover</a:t>
            </a:r>
          </a:p>
          <a:p>
            <a:pPr marL="470297" lvl="1" defTabSz="685800">
              <a:spcBef>
                <a:spcPts val="450"/>
              </a:spcBef>
              <a:buFont typeface="Courier New" panose="02070309020205020404" pitchFamily="49" charset="0"/>
              <a:buChar char="o"/>
              <a:defRPr/>
            </a:pP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Being </a:t>
            </a:r>
            <a:r>
              <a:rPr lang="en-GB" altLang="de-DE" sz="1200" b="1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reducible</a:t>
            </a:r>
            <a:r>
              <a:rPr lang="en-GB" altLang="de-DE" sz="1200" dirty="0">
                <a:solidFill>
                  <a:schemeClr val="bg1">
                    <a:lumMod val="50000"/>
                  </a:schemeClr>
                </a:solidFill>
                <a:latin typeface="Arial Narrow" pitchFamily="34" charset="0"/>
              </a:rPr>
              <a:t> to the SL approach</a:t>
            </a:r>
            <a:endParaRPr lang="en-GB" altLang="de-DE" sz="1200" u="sng" dirty="0">
              <a:solidFill>
                <a:schemeClr val="bg1">
                  <a:lumMod val="50000"/>
                </a:schemeClr>
              </a:solidFill>
              <a:latin typeface="Arial Narrow" pitchFamily="34" charset="0"/>
            </a:endParaRPr>
          </a:p>
        </p:txBody>
      </p:sp>
      <p:sp>
        <p:nvSpPr>
          <p:cNvPr id="5" name="Rectangle 73">
            <a:extLst>
              <a:ext uri="{FF2B5EF4-FFF2-40B4-BE49-F238E27FC236}">
                <a16:creationId xmlns:a16="http://schemas.microsoft.com/office/drawing/2014/main" id="{2348782E-1AFC-41D3-9D28-49123E7276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14" y="2869947"/>
            <a:ext cx="8532948" cy="307777"/>
          </a:xfrm>
          <a:prstGeom prst="rect">
            <a:avLst/>
          </a:prstGeom>
          <a:solidFill>
            <a:srgbClr val="FF7C80">
              <a:alpha val="42000"/>
            </a:srgbClr>
          </a:solidFill>
          <a:ln>
            <a:noFill/>
          </a:ln>
        </p:spPr>
        <p:txBody>
          <a:bodyPr wrap="square" anchor="ctr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357188" indent="-26987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87313" lvl="1" indent="0" defTabSz="685800">
              <a:spcBef>
                <a:spcPts val="450"/>
              </a:spcBef>
              <a:buNone/>
              <a:defRPr/>
            </a:pPr>
            <a:r>
              <a:rPr lang="en-GB" altLang="de-DE" sz="1400" b="1" dirty="0">
                <a:solidFill>
                  <a:srgbClr val="000000"/>
                </a:solidFill>
                <a:latin typeface="Arial Narrow" pitchFamily="34" charset="0"/>
              </a:rPr>
              <a:t>Task 4</a:t>
            </a:r>
            <a:r>
              <a:rPr lang="en-GB" altLang="de-DE" sz="1400" dirty="0">
                <a:solidFill>
                  <a:srgbClr val="000000"/>
                </a:solidFill>
                <a:latin typeface="Arial Narrow" pitchFamily="34" charset="0"/>
              </a:rPr>
              <a:t>:</a:t>
            </a:r>
            <a:r>
              <a:rPr lang="en-GB" altLang="de-DE" sz="1400" b="1" dirty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GB" altLang="de-DE" sz="1400" dirty="0">
                <a:solidFill>
                  <a:srgbClr val="000000"/>
                </a:solidFill>
                <a:latin typeface="Arial Narrow" pitchFamily="34" charset="0"/>
              </a:rPr>
              <a:t> Include all </a:t>
            </a:r>
            <a:r>
              <a:rPr lang="en-GB" altLang="de-DE" sz="1400" b="1" dirty="0">
                <a:solidFill>
                  <a:srgbClr val="000000"/>
                </a:solidFill>
                <a:latin typeface="Arial Narrow" pitchFamily="34" charset="0"/>
              </a:rPr>
              <a:t>water-phase transitions</a:t>
            </a:r>
            <a:r>
              <a:rPr lang="en-GB" altLang="de-DE" sz="1400" dirty="0">
                <a:solidFill>
                  <a:srgbClr val="000000"/>
                </a:solidFill>
                <a:latin typeface="Arial Narrow" pitchFamily="34" charset="0"/>
              </a:rPr>
              <a:t> into the </a:t>
            </a:r>
            <a:r>
              <a:rPr lang="en-GB" altLang="de-DE" sz="1400" b="1" dirty="0">
                <a:solidFill>
                  <a:srgbClr val="000000"/>
                </a:solidFill>
                <a:latin typeface="Arial Narrow" pitchFamily="34" charset="0"/>
              </a:rPr>
              <a:t>implicit temperature treatment</a:t>
            </a:r>
          </a:p>
        </p:txBody>
      </p:sp>
      <p:sp>
        <p:nvSpPr>
          <p:cNvPr id="7" name="Text Box 56">
            <a:extLst>
              <a:ext uri="{FF2B5EF4-FFF2-40B4-BE49-F238E27FC236}">
                <a16:creationId xmlns:a16="http://schemas.microsoft.com/office/drawing/2014/main" id="{584DBCDD-ABBA-46AC-A082-F389FE01C7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4438" y="3538509"/>
            <a:ext cx="70207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defTabSz="685800">
              <a:spcBef>
                <a:spcPct val="0"/>
              </a:spcBef>
              <a:buNone/>
              <a:defRPr/>
            </a:pPr>
            <a:r>
              <a:rPr lang="en-US" altLang="de-DE" sz="1200" b="1" u="sng" dirty="0">
                <a:solidFill>
                  <a:schemeClr val="bg1"/>
                </a:solidFill>
                <a:latin typeface="Arial Narrow" panose="020B0606020202030204" pitchFamily="34" charset="0"/>
              </a:rPr>
              <a:t>pending</a:t>
            </a:r>
            <a:endParaRPr lang="en-US" altLang="de-DE" sz="105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Text Box 7">
            <a:extLst>
              <a:ext uri="{FF2B5EF4-FFF2-40B4-BE49-F238E27FC236}">
                <a16:creationId xmlns:a16="http://schemas.microsoft.com/office/drawing/2014/main" id="{76DA2237-F97F-4012-B574-72EE5B09C6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06466" y="4948238"/>
            <a:ext cx="1016304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defTabSz="685800">
              <a:spcBef>
                <a:spcPct val="50000"/>
              </a:spcBef>
              <a:buNone/>
              <a:defRPr/>
            </a:pPr>
            <a:r>
              <a:rPr lang="en-GB" altLang="de-DE" sz="750" dirty="0">
                <a:solidFill>
                  <a:srgbClr val="000000"/>
                </a:solidFill>
                <a:latin typeface="Arial" panose="020B0604020202020204" pitchFamily="34" charset="0"/>
              </a:rPr>
              <a:t>Matthias Raschendorfer</a:t>
            </a:r>
            <a:endParaRPr lang="en-GB" altLang="de-DE" sz="9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" name="Line 23">
            <a:extLst>
              <a:ext uri="{FF2B5EF4-FFF2-40B4-BE49-F238E27FC236}">
                <a16:creationId xmlns:a16="http://schemas.microsoft.com/office/drawing/2014/main" id="{E368F08D-C6E0-477C-AD4C-4B718193E8A2}"/>
              </a:ext>
            </a:extLst>
          </p:cNvPr>
          <p:cNvSpPr>
            <a:spLocks noChangeShapeType="1"/>
          </p:cNvSpPr>
          <p:nvPr/>
        </p:nvSpPr>
        <p:spPr bwMode="auto">
          <a:xfrm>
            <a:off x="305526" y="4893468"/>
            <a:ext cx="8838474" cy="1"/>
          </a:xfrm>
          <a:prstGeom prst="line">
            <a:avLst/>
          </a:prstGeom>
          <a:noFill/>
          <a:ln w="15240">
            <a:solidFill>
              <a:srgbClr val="2D4B9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685800">
              <a:defRPr/>
            </a:pPr>
            <a:endParaRPr lang="de-DE" sz="12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44" descr="logo">
            <a:extLst>
              <a:ext uri="{FF2B5EF4-FFF2-40B4-BE49-F238E27FC236}">
                <a16:creationId xmlns:a16="http://schemas.microsoft.com/office/drawing/2014/main" id="{B9D4FE61-9EA5-4097-A4BE-2420A785A7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42" y="4915766"/>
            <a:ext cx="737392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8" descr="Bundesadler_kleiner">
            <a:extLst>
              <a:ext uri="{FF2B5EF4-FFF2-40B4-BE49-F238E27FC236}">
                <a16:creationId xmlns:a16="http://schemas.microsoft.com/office/drawing/2014/main" id="{F5E929A3-8EAE-4DFF-A53C-70891A3D31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978" y="4731990"/>
            <a:ext cx="334566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13">
            <a:extLst>
              <a:ext uri="{FF2B5EF4-FFF2-40B4-BE49-F238E27FC236}">
                <a16:creationId xmlns:a16="http://schemas.microsoft.com/office/drawing/2014/main" id="{0EDBEE19-A879-4DAF-83F7-07F1FF64CF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94165" y="4948014"/>
            <a:ext cx="2214340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defTabSz="685800">
              <a:spcBef>
                <a:spcPct val="0"/>
              </a:spcBef>
              <a:buNone/>
              <a:defRPr/>
            </a:pPr>
            <a:r>
              <a:rPr lang="en-GB" altLang="de-DE" sz="750" dirty="0">
                <a:solidFill>
                  <a:srgbClr val="000000"/>
                </a:solidFill>
                <a:latin typeface="Arial" panose="020B0604020202020204" pitchFamily="34" charset="0"/>
              </a:rPr>
              <a:t>COSMO-GM WG3ab Offenbach  2024</a:t>
            </a:r>
          </a:p>
        </p:txBody>
      </p:sp>
      <p:sp>
        <p:nvSpPr>
          <p:cNvPr id="14" name="Rectangle 73">
            <a:extLst>
              <a:ext uri="{FF2B5EF4-FFF2-40B4-BE49-F238E27FC236}">
                <a16:creationId xmlns:a16="http://schemas.microsoft.com/office/drawing/2014/main" id="{B1CCE175-8F5A-1C41-465C-022A3089FE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7634" y="110100"/>
            <a:ext cx="6084583" cy="414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357188" indent="-26987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65485" lvl="1" indent="0" algn="ctr" defTabSz="685800">
              <a:lnSpc>
                <a:spcPct val="150000"/>
              </a:lnSpc>
              <a:spcBef>
                <a:spcPts val="450"/>
              </a:spcBef>
              <a:buNone/>
              <a:defRPr/>
            </a:pPr>
            <a:r>
              <a:rPr lang="en-GB" altLang="de-DE" sz="1600" b="1" dirty="0">
                <a:solidFill>
                  <a:srgbClr val="0070C0"/>
                </a:solidFill>
                <a:latin typeface="Arial Narrow" pitchFamily="34" charset="0"/>
              </a:rPr>
              <a:t>Status of  </a:t>
            </a:r>
            <a:r>
              <a:rPr lang="en-GB" altLang="de-DE" sz="1600" b="1" dirty="0" err="1">
                <a:solidFill>
                  <a:srgbClr val="0070C0"/>
                </a:solidFill>
                <a:latin typeface="Arial Narrow" pitchFamily="34" charset="0"/>
              </a:rPr>
              <a:t>ConSAT</a:t>
            </a:r>
            <a:r>
              <a:rPr lang="en-GB" altLang="de-DE" sz="1600" b="1" dirty="0">
                <a:solidFill>
                  <a:srgbClr val="0070C0"/>
                </a:solidFill>
                <a:latin typeface="Arial Narrow" pitchFamily="34" charset="0"/>
              </a:rPr>
              <a:t>-development related to TERRA (</a:t>
            </a:r>
            <a:r>
              <a:rPr lang="en-GB" altLang="de-DE" sz="1600" b="1" i="1" dirty="0">
                <a:solidFill>
                  <a:srgbClr val="0070C0"/>
                </a:solidFill>
                <a:latin typeface="Arial Narrow" pitchFamily="34" charset="0"/>
              </a:rPr>
              <a:t>ICON</a:t>
            </a:r>
            <a:r>
              <a:rPr lang="en-GB" altLang="de-DE" sz="1600" b="1" dirty="0">
                <a:solidFill>
                  <a:srgbClr val="0070C0"/>
                </a:solidFill>
                <a:latin typeface="Arial Narrow" pitchFamily="34" charset="0"/>
              </a:rPr>
              <a:t> </a:t>
            </a:r>
            <a:r>
              <a:rPr lang="en-GB" altLang="de-DE" sz="1600" b="1" i="1" dirty="0">
                <a:solidFill>
                  <a:srgbClr val="0070C0"/>
                </a:solidFill>
                <a:latin typeface="Arial Narrow" pitchFamily="34" charset="0"/>
              </a:rPr>
              <a:t>branch </a:t>
            </a:r>
            <a:r>
              <a:rPr lang="en-GB" altLang="de-DE" sz="1600" b="1" i="1" dirty="0" err="1">
                <a:solidFill>
                  <a:srgbClr val="0070C0"/>
                </a:solidFill>
                <a:latin typeface="Arial Narrow" pitchFamily="34" charset="0"/>
              </a:rPr>
              <a:t>mrsurf</a:t>
            </a:r>
            <a:r>
              <a:rPr lang="en-GB" altLang="de-DE" sz="1600" b="1" i="1" dirty="0">
                <a:solidFill>
                  <a:srgbClr val="0070C0"/>
                </a:solidFill>
                <a:latin typeface="Arial Narrow" pitchFamily="34" charset="0"/>
              </a:rPr>
              <a:t> </a:t>
            </a:r>
            <a:r>
              <a:rPr lang="en-GB" altLang="de-DE" sz="1600" b="1" dirty="0">
                <a:solidFill>
                  <a:srgbClr val="0070C0"/>
                </a:solidFill>
                <a:latin typeface="Arial Narrow" pitchFamily="34" charset="0"/>
              </a:rPr>
              <a:t>)</a:t>
            </a:r>
          </a:p>
        </p:txBody>
      </p:sp>
      <p:sp>
        <p:nvSpPr>
          <p:cNvPr id="15" name="Rectangle 73">
            <a:extLst>
              <a:ext uri="{FF2B5EF4-FFF2-40B4-BE49-F238E27FC236}">
                <a16:creationId xmlns:a16="http://schemas.microsoft.com/office/drawing/2014/main" id="{6FD0F22B-950C-22F8-2D23-17DC776329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14" y="765144"/>
            <a:ext cx="8532948" cy="307777"/>
          </a:xfrm>
          <a:prstGeom prst="rect">
            <a:avLst/>
          </a:prstGeom>
          <a:solidFill>
            <a:srgbClr val="92D050">
              <a:alpha val="42000"/>
            </a:srgbClr>
          </a:solidFill>
          <a:ln>
            <a:noFill/>
          </a:ln>
        </p:spPr>
        <p:txBody>
          <a:bodyPr wrap="square" anchor="ctr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357188" indent="-26987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87313" lvl="1" indent="0" defTabSz="685800">
              <a:spcBef>
                <a:spcPts val="450"/>
              </a:spcBef>
              <a:buNone/>
              <a:defRPr/>
            </a:pPr>
            <a:r>
              <a:rPr lang="en-GB" altLang="de-DE" sz="1400" b="1" dirty="0">
                <a:solidFill>
                  <a:srgbClr val="000000"/>
                </a:solidFill>
                <a:latin typeface="Arial Narrow" pitchFamily="34" charset="0"/>
              </a:rPr>
              <a:t>Task 3</a:t>
            </a:r>
            <a:r>
              <a:rPr lang="en-GB" altLang="de-DE" sz="1400" dirty="0">
                <a:solidFill>
                  <a:srgbClr val="000000"/>
                </a:solidFill>
                <a:latin typeface="Arial Narrow" pitchFamily="34" charset="0"/>
              </a:rPr>
              <a:t>: Add a correctly coupled </a:t>
            </a:r>
            <a:r>
              <a:rPr lang="en-GB" altLang="de-DE" sz="1400" b="1" dirty="0">
                <a:solidFill>
                  <a:srgbClr val="000000"/>
                </a:solidFill>
                <a:latin typeface="Arial Narrow" pitchFamily="34" charset="0"/>
              </a:rPr>
              <a:t>multi-layers (ML) snow-treatment</a:t>
            </a:r>
          </a:p>
        </p:txBody>
      </p:sp>
      <p:sp>
        <p:nvSpPr>
          <p:cNvPr id="17" name="Rectangle 73">
            <a:extLst>
              <a:ext uri="{FF2B5EF4-FFF2-40B4-BE49-F238E27FC236}">
                <a16:creationId xmlns:a16="http://schemas.microsoft.com/office/drawing/2014/main" id="{10717C0B-F948-63CA-512C-BFC67BF34C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14" y="1922588"/>
            <a:ext cx="6966774" cy="276999"/>
          </a:xfrm>
          <a:prstGeom prst="rect">
            <a:avLst/>
          </a:prstGeom>
          <a:solidFill>
            <a:schemeClr val="accent1">
              <a:lumMod val="60000"/>
              <a:lumOff val="40000"/>
              <a:alpha val="42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anchor="ctr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357188" indent="-26987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65485" lvl="1" indent="0" defTabSz="685800">
              <a:spcBef>
                <a:spcPts val="450"/>
              </a:spcBef>
              <a:buNone/>
              <a:defRPr/>
            </a:pP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Task 3.2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: Implementation of a particular ML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 snow-hydrology</a:t>
            </a:r>
            <a:r>
              <a:rPr kumimoji="0" lang="en-GB" altLang="de-DE" sz="12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endParaRPr lang="en-GB" altLang="de-DE" sz="12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18" name="Text Box 56">
            <a:extLst>
              <a:ext uri="{FF2B5EF4-FFF2-40B4-BE49-F238E27FC236}">
                <a16:creationId xmlns:a16="http://schemas.microsoft.com/office/drawing/2014/main" id="{B7C54BFA-FC5D-B1BB-3188-49B7F8E189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24438" y="2909611"/>
            <a:ext cx="93610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pending</a:t>
            </a:r>
            <a:endParaRPr kumimoji="0" lang="en-US" altLang="de-DE" sz="1100" b="0" i="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9" name="Text Box 56">
            <a:extLst>
              <a:ext uri="{FF2B5EF4-FFF2-40B4-BE49-F238E27FC236}">
                <a16:creationId xmlns:a16="http://schemas.microsoft.com/office/drawing/2014/main" id="{DEAE2A3D-4A0E-1F78-139E-0909E2D61D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26113" y="1958815"/>
            <a:ext cx="93610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de-DE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pending</a:t>
            </a:r>
            <a:endParaRPr kumimoji="0" lang="en-US" altLang="de-DE" sz="1100" b="0" i="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A4A3D44-7F17-97F6-1E6E-1C7C6E2DDFD2}"/>
              </a:ext>
            </a:extLst>
          </p:cNvPr>
          <p:cNvSpPr txBox="1"/>
          <p:nvPr/>
        </p:nvSpPr>
        <p:spPr>
          <a:xfrm>
            <a:off x="5530467" y="3778786"/>
            <a:ext cx="184731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CH" dirty="0"/>
          </a:p>
        </p:txBody>
      </p:sp>
      <p:sp>
        <p:nvSpPr>
          <p:cNvPr id="4" name="Rectangle 73">
            <a:extLst>
              <a:ext uri="{FF2B5EF4-FFF2-40B4-BE49-F238E27FC236}">
                <a16:creationId xmlns:a16="http://schemas.microsoft.com/office/drawing/2014/main" id="{56159CB0-9B7D-B5C5-BE86-D7974BD339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7514" y="3870405"/>
            <a:ext cx="8532948" cy="307777"/>
          </a:xfrm>
          <a:prstGeom prst="rect">
            <a:avLst/>
          </a:prstGeom>
          <a:solidFill>
            <a:srgbClr val="FFC000">
              <a:alpha val="42000"/>
            </a:srgbClr>
          </a:solidFill>
          <a:ln>
            <a:noFill/>
          </a:ln>
        </p:spPr>
        <p:txBody>
          <a:bodyPr wrap="square" anchor="ctr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357188" indent="-26987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87313" lvl="1" indent="0" defTabSz="685800">
              <a:spcBef>
                <a:spcPts val="450"/>
              </a:spcBef>
              <a:buNone/>
              <a:defRPr/>
            </a:pPr>
            <a:r>
              <a:rPr lang="en-GB" altLang="de-DE" sz="1400" b="1" dirty="0">
                <a:solidFill>
                  <a:srgbClr val="000000"/>
                </a:solidFill>
                <a:latin typeface="Arial Narrow" pitchFamily="34" charset="0"/>
              </a:rPr>
              <a:t>Task 5</a:t>
            </a:r>
            <a:r>
              <a:rPr lang="en-GB" altLang="de-DE" sz="1400" dirty="0">
                <a:solidFill>
                  <a:srgbClr val="000000"/>
                </a:solidFill>
                <a:latin typeface="Arial Narrow" pitchFamily="34" charset="0"/>
              </a:rPr>
              <a:t>:  Implementation of a sophisticated </a:t>
            </a:r>
            <a:r>
              <a:rPr lang="en-GB" altLang="de-DE" sz="1400" b="1" dirty="0">
                <a:solidFill>
                  <a:srgbClr val="000000"/>
                </a:solidFill>
                <a:latin typeface="Arial Narrow" pitchFamily="34" charset="0"/>
              </a:rPr>
              <a:t>canopy treatment</a:t>
            </a:r>
            <a:r>
              <a:rPr lang="en-GB" altLang="de-DE" sz="1400" dirty="0">
                <a:solidFill>
                  <a:srgbClr val="000000"/>
                </a:solidFill>
                <a:latin typeface="Arial Narrow" pitchFamily="34" charset="0"/>
              </a:rPr>
              <a:t> </a:t>
            </a:r>
          </a:p>
        </p:txBody>
      </p:sp>
      <p:sp>
        <p:nvSpPr>
          <p:cNvPr id="6" name="Text Box 56">
            <a:extLst>
              <a:ext uri="{FF2B5EF4-FFF2-40B4-BE49-F238E27FC236}">
                <a16:creationId xmlns:a16="http://schemas.microsoft.com/office/drawing/2014/main" id="{A0EC4D56-561F-0EF7-B721-D51BC45FA3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83478" y="3882524"/>
            <a:ext cx="194740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200" b="1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rPr>
              <a:t>Not yet transferred in ICON</a:t>
            </a:r>
            <a:endParaRPr kumimoji="0" lang="en-US" altLang="de-DE" sz="1100" b="0" i="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48693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2239" b="29907"/>
          <a:stretch/>
        </p:blipFill>
        <p:spPr bwMode="auto">
          <a:xfrm>
            <a:off x="1309218" y="1113588"/>
            <a:ext cx="3715842" cy="3044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2719" b="29421"/>
          <a:stretch/>
        </p:blipFill>
        <p:spPr bwMode="auto">
          <a:xfrm>
            <a:off x="4490123" y="1116057"/>
            <a:ext cx="3754286" cy="3075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1143000" y="33468"/>
            <a:ext cx="6858000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defTabSz="685800" eaLnBrk="1" fontAlgn="auto" hangingPunct="1">
              <a:spcBef>
                <a:spcPct val="50000"/>
              </a:spcBef>
              <a:spcAft>
                <a:spcPts val="0"/>
              </a:spcAft>
              <a:buNone/>
              <a:defRPr/>
            </a:pPr>
            <a:r>
              <a:rPr lang="en-US" altLang="de-DE" sz="1350" dirty="0">
                <a:solidFill>
                  <a:srgbClr val="000000"/>
                </a:solidFill>
                <a:latin typeface="Arial Narrow" pitchFamily="34" charset="0"/>
              </a:rPr>
              <a:t> </a:t>
            </a:r>
            <a:r>
              <a:rPr lang="en-US" altLang="de-DE" sz="1350" b="1" u="sng" dirty="0">
                <a:solidFill>
                  <a:srgbClr val="000000"/>
                </a:solidFill>
                <a:latin typeface="Arial Narrow" pitchFamily="34" charset="0"/>
              </a:rPr>
              <a:t>Test-grid-point Kenia (+33.71_+7.89) :</a:t>
            </a:r>
          </a:p>
        </p:txBody>
      </p:sp>
      <p:sp>
        <p:nvSpPr>
          <p:cNvPr id="8" name="Rectangle 14"/>
          <p:cNvSpPr>
            <a:spLocks noChangeArrowheads="1"/>
          </p:cNvSpPr>
          <p:nvPr/>
        </p:nvSpPr>
        <p:spPr bwMode="auto">
          <a:xfrm>
            <a:off x="1223628" y="4238694"/>
            <a:ext cx="6438807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marL="285750" indent="-2857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214313" indent="-214313" defTabSz="685800" eaLnBrk="1" fontAlgn="auto" hangingPunct="1"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de-DE" sz="1050" b="1" dirty="0">
                <a:solidFill>
                  <a:srgbClr val="000099"/>
                </a:solidFill>
                <a:latin typeface="Arial" charset="0"/>
              </a:rPr>
              <a:t>Oscillations almost completely eliminated</a:t>
            </a:r>
            <a:r>
              <a:rPr lang="en-GB" altLang="de-DE" sz="1050" b="1" dirty="0">
                <a:solidFill>
                  <a:srgbClr val="4F81BD"/>
                </a:solidFill>
                <a:latin typeface="Arial" charset="0"/>
              </a:rPr>
              <a:t>, </a:t>
            </a:r>
            <a:r>
              <a:rPr lang="en-GB" altLang="de-DE" sz="1050" b="1" dirty="0">
                <a:solidFill>
                  <a:prstClr val="black"/>
                </a:solidFill>
                <a:latin typeface="Arial" charset="0"/>
              </a:rPr>
              <a:t>even </a:t>
            </a:r>
            <a:r>
              <a:rPr lang="en-GB" altLang="de-DE" sz="1050" b="1" u="sng" dirty="0">
                <a:solidFill>
                  <a:prstClr val="black"/>
                </a:solidFill>
                <a:latin typeface="Arial" charset="0"/>
              </a:rPr>
              <a:t>without the operational </a:t>
            </a:r>
            <a:r>
              <a:rPr lang="en-GB" altLang="de-DE" sz="1050" b="1" u="sng" dirty="0">
                <a:solidFill>
                  <a:srgbClr val="FF0000"/>
                </a:solidFill>
                <a:latin typeface="Arial" charset="0"/>
              </a:rPr>
              <a:t>flux-limiter</a:t>
            </a:r>
            <a:r>
              <a:rPr lang="en-GB" altLang="de-DE" sz="1050" b="1" dirty="0">
                <a:solidFill>
                  <a:prstClr val="black"/>
                </a:solidFill>
                <a:latin typeface="Arial" charset="0"/>
              </a:rPr>
              <a:t> in TERRA!</a:t>
            </a:r>
            <a:r>
              <a:rPr lang="en-GB" altLang="de-DE" sz="1050" b="1" dirty="0">
                <a:solidFill>
                  <a:srgbClr val="4F81BD"/>
                </a:solidFill>
                <a:latin typeface="Arial" charset="0"/>
              </a:rPr>
              <a:t>	</a:t>
            </a:r>
          </a:p>
        </p:txBody>
      </p:sp>
      <p:sp>
        <p:nvSpPr>
          <p:cNvPr id="14" name="Rectangle 25"/>
          <p:cNvSpPr>
            <a:spLocks noChangeArrowheads="1"/>
          </p:cNvSpPr>
          <p:nvPr/>
        </p:nvSpPr>
        <p:spPr bwMode="auto">
          <a:xfrm>
            <a:off x="2823903" y="1357269"/>
            <a:ext cx="829996" cy="25391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685800" eaLnBrk="1" fontAlgn="auto" hangingPunct="1"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GB" altLang="de-DE" sz="1050" dirty="0" err="1">
                <a:solidFill>
                  <a:prstClr val="black"/>
                </a:solidFill>
                <a:latin typeface="Arial" charset="0"/>
              </a:rPr>
              <a:t>T_sf</a:t>
            </a:r>
            <a:endParaRPr lang="en-GB" altLang="de-DE" sz="1050" b="1" dirty="0">
              <a:solidFill>
                <a:srgbClr val="4F81BD"/>
              </a:solidFill>
              <a:latin typeface="Arial" charset="0"/>
            </a:endParaRPr>
          </a:p>
        </p:txBody>
      </p:sp>
      <p:sp>
        <p:nvSpPr>
          <p:cNvPr id="15" name="Rectangle 25"/>
          <p:cNvSpPr>
            <a:spLocks noChangeArrowheads="1"/>
          </p:cNvSpPr>
          <p:nvPr/>
        </p:nvSpPr>
        <p:spPr bwMode="auto">
          <a:xfrm>
            <a:off x="6064263" y="1357269"/>
            <a:ext cx="829996" cy="25391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685800" eaLnBrk="1" fontAlgn="auto" hangingPunct="1"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GB" altLang="de-DE" sz="1050" dirty="0" err="1">
                <a:solidFill>
                  <a:prstClr val="black"/>
                </a:solidFill>
                <a:latin typeface="Arial" charset="0"/>
              </a:rPr>
              <a:t>LHF_sf</a:t>
            </a:r>
            <a:endParaRPr lang="en-GB" altLang="de-DE" sz="1050" b="1" dirty="0">
              <a:solidFill>
                <a:srgbClr val="4F81BD"/>
              </a:solidFill>
              <a:latin typeface="Arial" charset="0"/>
            </a:endParaRPr>
          </a:p>
        </p:txBody>
      </p:sp>
      <p:sp>
        <p:nvSpPr>
          <p:cNvPr id="16" name="Rectangle 14"/>
          <p:cNvSpPr>
            <a:spLocks noChangeArrowheads="1"/>
          </p:cNvSpPr>
          <p:nvPr/>
        </p:nvSpPr>
        <p:spPr bwMode="auto">
          <a:xfrm>
            <a:off x="1277634" y="386466"/>
            <a:ext cx="6438807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marL="285750" indent="-2857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214313" indent="-214313" defTabSz="685800" eaLnBrk="1" fontAlgn="auto" hangingPunct="1"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de-DE" sz="1050" b="1" dirty="0">
                <a:solidFill>
                  <a:prstClr val="black"/>
                </a:solidFill>
                <a:latin typeface="Arial" charset="0"/>
              </a:rPr>
              <a:t>After-noon situation; tropical hot with strong radiation forcing</a:t>
            </a:r>
          </a:p>
          <a:p>
            <a:pPr marL="214313" indent="-214313" defTabSz="685800" eaLnBrk="1" fontAlgn="auto" hangingPunct="1"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de-DE" sz="1050" b="1" dirty="0">
                <a:solidFill>
                  <a:prstClr val="black"/>
                </a:solidFill>
                <a:latin typeface="Arial" charset="0"/>
              </a:rPr>
              <a:t>3 hour ICON-global test-run (R2B6, </a:t>
            </a:r>
            <a:r>
              <a:rPr lang="en-GB" altLang="de-DE" sz="1050" b="1" dirty="0" err="1">
                <a:solidFill>
                  <a:srgbClr val="FF0000"/>
                </a:solidFill>
                <a:latin typeface="Arial" charset="0"/>
              </a:rPr>
              <a:t>dt</a:t>
            </a:r>
            <a:r>
              <a:rPr lang="en-GB" altLang="de-DE" sz="1050" b="1" dirty="0">
                <a:solidFill>
                  <a:srgbClr val="FF0000"/>
                </a:solidFill>
                <a:latin typeface="Arial" charset="0"/>
              </a:rPr>
              <a:t>=6min</a:t>
            </a:r>
            <a:r>
              <a:rPr lang="en-GB" altLang="de-DE" sz="1050" b="1" dirty="0">
                <a:solidFill>
                  <a:prstClr val="black"/>
                </a:solidFill>
                <a:latin typeface="Arial" charset="0"/>
              </a:rPr>
              <a:t>) with </a:t>
            </a:r>
          </a:p>
          <a:p>
            <a:pPr marL="214313" indent="-214313" defTabSz="685800" eaLnBrk="1" fontAlgn="auto" hangingPunct="1"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de-DE" sz="1050" b="1" dirty="0">
                <a:solidFill>
                  <a:srgbClr val="0000FF"/>
                </a:solidFill>
                <a:latin typeface="Arial" charset="0"/>
              </a:rPr>
              <a:t>implicit defaults</a:t>
            </a:r>
            <a:r>
              <a:rPr lang="en-GB" altLang="de-DE" sz="1050" b="1" dirty="0">
                <a:solidFill>
                  <a:prstClr val="black"/>
                </a:solidFill>
                <a:latin typeface="Arial" charset="0"/>
              </a:rPr>
              <a:t> of the new development version of SAT-formulation (mainly TERRA)</a:t>
            </a:r>
          </a:p>
          <a:p>
            <a:pPr marL="214313" indent="-214313" defTabSz="685800" eaLnBrk="1" fontAlgn="auto" hangingPunct="1"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GB" altLang="de-DE" sz="1050" b="1" dirty="0">
                <a:solidFill>
                  <a:prstClr val="black"/>
                </a:solidFill>
                <a:latin typeface="Arial" charset="0"/>
              </a:rPr>
              <a:t>emulation of so far operational</a:t>
            </a:r>
            <a:r>
              <a:rPr lang="en-GB" altLang="de-DE" sz="1050" b="1" dirty="0">
                <a:solidFill>
                  <a:srgbClr val="C00000"/>
                </a:solidFill>
                <a:latin typeface="Arial" charset="0"/>
              </a:rPr>
              <a:t> explicit surface coupling </a:t>
            </a:r>
            <a:r>
              <a:rPr lang="en-GB" altLang="de-DE" sz="1050" b="1" u="sng" dirty="0">
                <a:solidFill>
                  <a:prstClr val="black"/>
                </a:solidFill>
                <a:latin typeface="Arial" charset="0"/>
              </a:rPr>
              <a:t>only for a special grid-point</a:t>
            </a:r>
          </a:p>
        </p:txBody>
      </p:sp>
      <p:sp>
        <p:nvSpPr>
          <p:cNvPr id="21" name="Text Box 7">
            <a:extLst>
              <a:ext uri="{FF2B5EF4-FFF2-40B4-BE49-F238E27FC236}">
                <a16:creationId xmlns:a16="http://schemas.microsoft.com/office/drawing/2014/main" id="{76DA2237-F97F-4012-B574-72EE5B09C6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06466" y="4948238"/>
            <a:ext cx="1016304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defTabSz="685800">
              <a:spcBef>
                <a:spcPct val="50000"/>
              </a:spcBef>
              <a:buNone/>
              <a:defRPr/>
            </a:pPr>
            <a:r>
              <a:rPr lang="en-GB" altLang="de-DE" sz="750" dirty="0">
                <a:solidFill>
                  <a:srgbClr val="000000"/>
                </a:solidFill>
                <a:latin typeface="Arial" panose="020B0604020202020204" pitchFamily="34" charset="0"/>
              </a:rPr>
              <a:t>Matthias Raschendorfer</a:t>
            </a:r>
            <a:endParaRPr lang="en-GB" altLang="de-DE" sz="9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2" name="Line 23">
            <a:extLst>
              <a:ext uri="{FF2B5EF4-FFF2-40B4-BE49-F238E27FC236}">
                <a16:creationId xmlns:a16="http://schemas.microsoft.com/office/drawing/2014/main" id="{E368F08D-C6E0-477C-AD4C-4B718193E8A2}"/>
              </a:ext>
            </a:extLst>
          </p:cNvPr>
          <p:cNvSpPr>
            <a:spLocks noChangeShapeType="1"/>
          </p:cNvSpPr>
          <p:nvPr/>
        </p:nvSpPr>
        <p:spPr bwMode="auto">
          <a:xfrm>
            <a:off x="305526" y="4893468"/>
            <a:ext cx="8838474" cy="1"/>
          </a:xfrm>
          <a:prstGeom prst="line">
            <a:avLst/>
          </a:prstGeom>
          <a:noFill/>
          <a:ln w="15240">
            <a:solidFill>
              <a:srgbClr val="2D4B9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685800">
              <a:defRPr/>
            </a:pPr>
            <a:endParaRPr lang="de-DE" sz="12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44" descr="logo">
            <a:extLst>
              <a:ext uri="{FF2B5EF4-FFF2-40B4-BE49-F238E27FC236}">
                <a16:creationId xmlns:a16="http://schemas.microsoft.com/office/drawing/2014/main" id="{B9D4FE61-9EA5-4097-A4BE-2420A785A7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42" y="4915766"/>
            <a:ext cx="737392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8" descr="Bundesadler_kleiner">
            <a:extLst>
              <a:ext uri="{FF2B5EF4-FFF2-40B4-BE49-F238E27FC236}">
                <a16:creationId xmlns:a16="http://schemas.microsoft.com/office/drawing/2014/main" id="{F5E929A3-8EAE-4DFF-A53C-70891A3D31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978" y="4731990"/>
            <a:ext cx="334566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Text Box 13">
            <a:extLst>
              <a:ext uri="{FF2B5EF4-FFF2-40B4-BE49-F238E27FC236}">
                <a16:creationId xmlns:a16="http://schemas.microsoft.com/office/drawing/2014/main" id="{0EDBEE19-A879-4DAF-83F7-07F1FF64CF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94165" y="4948014"/>
            <a:ext cx="2214340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defTabSz="685800">
              <a:spcBef>
                <a:spcPct val="0"/>
              </a:spcBef>
              <a:buNone/>
              <a:defRPr/>
            </a:pPr>
            <a:r>
              <a:rPr lang="en-GB" altLang="de-DE" sz="750" dirty="0">
                <a:solidFill>
                  <a:srgbClr val="000000"/>
                </a:solidFill>
                <a:latin typeface="Arial" panose="020B0604020202020204" pitchFamily="34" charset="0"/>
              </a:rPr>
              <a:t>COSMO-GM WG3ab Offenbach  2024</a:t>
            </a:r>
          </a:p>
        </p:txBody>
      </p:sp>
      <p:sp>
        <p:nvSpPr>
          <p:cNvPr id="2" name="Rechteck 1"/>
          <p:cNvSpPr/>
          <p:nvPr/>
        </p:nvSpPr>
        <p:spPr>
          <a:xfrm>
            <a:off x="2627784" y="3837837"/>
            <a:ext cx="1620180" cy="981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75"/>
          </a:p>
        </p:txBody>
      </p:sp>
      <p:sp>
        <p:nvSpPr>
          <p:cNvPr id="26" name="Rechteck 25"/>
          <p:cNvSpPr/>
          <p:nvPr/>
        </p:nvSpPr>
        <p:spPr>
          <a:xfrm>
            <a:off x="6161003" y="3837836"/>
            <a:ext cx="1620180" cy="981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75"/>
          </a:p>
        </p:txBody>
      </p:sp>
      <p:sp>
        <p:nvSpPr>
          <p:cNvPr id="9" name="Rectangle 25"/>
          <p:cNvSpPr>
            <a:spLocks noChangeArrowheads="1"/>
          </p:cNvSpPr>
          <p:nvPr/>
        </p:nvSpPr>
        <p:spPr bwMode="auto">
          <a:xfrm>
            <a:off x="2563826" y="3769231"/>
            <a:ext cx="1684138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685800" eaLnBrk="1" fontAlgn="auto" hangingPunct="1"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GB" altLang="de-DE" sz="825" dirty="0">
                <a:solidFill>
                  <a:prstClr val="black"/>
                </a:solidFill>
                <a:latin typeface="Arial" charset="0"/>
              </a:rPr>
              <a:t>new-</a:t>
            </a:r>
            <a:r>
              <a:rPr lang="en-GB" altLang="de-DE" sz="825" dirty="0" err="1">
                <a:solidFill>
                  <a:prstClr val="black"/>
                </a:solidFill>
                <a:latin typeface="Arial" charset="0"/>
              </a:rPr>
              <a:t>sx</a:t>
            </a:r>
            <a:r>
              <a:rPr lang="en-GB" altLang="de-DE" sz="825" dirty="0">
                <a:solidFill>
                  <a:prstClr val="black"/>
                </a:solidFill>
                <a:latin typeface="Arial" charset="0"/>
              </a:rPr>
              <a:t>-</a:t>
            </a:r>
            <a:r>
              <a:rPr lang="en-GB" altLang="de-DE" sz="825" dirty="0" err="1">
                <a:solidFill>
                  <a:prstClr val="black"/>
                </a:solidFill>
                <a:latin typeface="Arial" charset="0"/>
              </a:rPr>
              <a:t>cpl</a:t>
            </a:r>
            <a:r>
              <a:rPr lang="en-GB" altLang="de-DE" sz="825" dirty="0">
                <a:solidFill>
                  <a:prstClr val="black"/>
                </a:solidFill>
                <a:latin typeface="Arial" charset="0"/>
              </a:rPr>
              <a:t>  (</a:t>
            </a:r>
            <a:r>
              <a:rPr lang="en-GB" altLang="de-DE" sz="825" b="1" dirty="0" err="1">
                <a:solidFill>
                  <a:srgbClr val="4F81BD"/>
                </a:solidFill>
                <a:latin typeface="Arial" charset="0"/>
              </a:rPr>
              <a:t>Ifb</a:t>
            </a:r>
            <a:r>
              <a:rPr lang="en-GB" altLang="de-DE" sz="825" b="1" dirty="0">
                <a:solidFill>
                  <a:srgbClr val="4F81BD"/>
                </a:solidFill>
                <a:latin typeface="Arial" charset="0"/>
              </a:rPr>
              <a:t>=1 ; </a:t>
            </a:r>
            <a:r>
              <a:rPr lang="en-GB" altLang="de-DE" sz="825" b="1" dirty="0" err="1">
                <a:solidFill>
                  <a:srgbClr val="4F81BD"/>
                </a:solidFill>
                <a:latin typeface="Arial" charset="0"/>
              </a:rPr>
              <a:t>itv</a:t>
            </a:r>
            <a:r>
              <a:rPr lang="en-GB" altLang="de-DE" sz="825" b="1" dirty="0">
                <a:solidFill>
                  <a:srgbClr val="4F81BD"/>
                </a:solidFill>
                <a:latin typeface="Arial" charset="0"/>
              </a:rPr>
              <a:t>=1)</a:t>
            </a:r>
          </a:p>
        </p:txBody>
      </p:sp>
      <p:sp>
        <p:nvSpPr>
          <p:cNvPr id="10" name="Rectangle 25"/>
          <p:cNvSpPr>
            <a:spLocks noChangeArrowheads="1"/>
          </p:cNvSpPr>
          <p:nvPr/>
        </p:nvSpPr>
        <p:spPr bwMode="auto">
          <a:xfrm>
            <a:off x="6084168" y="3769231"/>
            <a:ext cx="1750614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685800" eaLnBrk="1" fontAlgn="auto" hangingPunct="1">
              <a:spcBef>
                <a:spcPct val="0"/>
              </a:spcBef>
              <a:spcAft>
                <a:spcPts val="0"/>
              </a:spcAft>
              <a:buNone/>
              <a:defRPr/>
            </a:pPr>
            <a:r>
              <a:rPr lang="en-GB" altLang="de-DE" sz="825" dirty="0">
                <a:solidFill>
                  <a:prstClr val="black"/>
                </a:solidFill>
                <a:latin typeface="Arial" charset="0"/>
              </a:rPr>
              <a:t>new-</a:t>
            </a:r>
            <a:r>
              <a:rPr lang="en-GB" altLang="de-DE" sz="825" dirty="0" err="1">
                <a:solidFill>
                  <a:prstClr val="black"/>
                </a:solidFill>
                <a:latin typeface="Arial" charset="0"/>
              </a:rPr>
              <a:t>sx-cpl</a:t>
            </a:r>
            <a:r>
              <a:rPr lang="en-GB" altLang="de-DE" sz="825" dirty="0">
                <a:solidFill>
                  <a:prstClr val="black"/>
                </a:solidFill>
                <a:latin typeface="Arial" charset="0"/>
              </a:rPr>
              <a:t> (</a:t>
            </a:r>
            <a:r>
              <a:rPr lang="en-GB" altLang="de-DE" sz="825" b="1" dirty="0" err="1">
                <a:solidFill>
                  <a:srgbClr val="4F81BD"/>
                </a:solidFill>
                <a:latin typeface="Arial" charset="0"/>
              </a:rPr>
              <a:t>Ifb</a:t>
            </a:r>
            <a:r>
              <a:rPr lang="en-GB" altLang="de-DE" sz="825" b="1" dirty="0">
                <a:solidFill>
                  <a:srgbClr val="4F81BD"/>
                </a:solidFill>
                <a:latin typeface="Arial" charset="0"/>
              </a:rPr>
              <a:t>=1 ;  </a:t>
            </a:r>
            <a:r>
              <a:rPr lang="en-GB" altLang="de-DE" sz="825" b="1" dirty="0" err="1">
                <a:solidFill>
                  <a:srgbClr val="4F81BD"/>
                </a:solidFill>
                <a:latin typeface="Arial" charset="0"/>
              </a:rPr>
              <a:t>itv</a:t>
            </a:r>
            <a:r>
              <a:rPr lang="en-GB" altLang="de-DE" sz="825" b="1" dirty="0">
                <a:solidFill>
                  <a:srgbClr val="4F81BD"/>
                </a:solidFill>
                <a:latin typeface="Arial" charset="0"/>
              </a:rPr>
              <a:t>=1)</a:t>
            </a:r>
          </a:p>
        </p:txBody>
      </p:sp>
    </p:spTree>
    <p:extLst>
      <p:ext uri="{BB962C8B-B14F-4D97-AF65-F5344CB8AC3E}">
        <p14:creationId xmlns:p14="http://schemas.microsoft.com/office/powerpoint/2010/main" val="30364446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3">
            <a:extLst>
              <a:ext uri="{FF2B5EF4-FFF2-40B4-BE49-F238E27FC236}">
                <a16:creationId xmlns:a16="http://schemas.microsoft.com/office/drawing/2014/main" id="{2348782E-1AFC-41D3-9D28-49123E7276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966" y="129938"/>
            <a:ext cx="8291345" cy="276999"/>
          </a:xfrm>
          <a:prstGeom prst="rect">
            <a:avLst/>
          </a:prstGeom>
          <a:solidFill>
            <a:srgbClr val="FFC000">
              <a:alpha val="42000"/>
            </a:srgbClr>
          </a:solidFill>
          <a:ln>
            <a:noFill/>
          </a:ln>
        </p:spPr>
        <p:txBody>
          <a:bodyPr wrap="square" anchor="ctr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357188" indent="-26987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lvl="1" defTabSz="685800">
              <a:spcBef>
                <a:spcPts val="450"/>
              </a:spcBef>
              <a:buFont typeface="Wingdings" panose="05000000000000000000" pitchFamily="2" charset="2"/>
              <a:buChar char="§"/>
              <a:defRPr/>
            </a:pP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Task 5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:  Implementation of a sophisticated 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canopy treatment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 </a:t>
            </a:r>
          </a:p>
        </p:txBody>
      </p:sp>
      <p:sp>
        <p:nvSpPr>
          <p:cNvPr id="5" name="Rectangle 73">
            <a:extLst>
              <a:ext uri="{FF2B5EF4-FFF2-40B4-BE49-F238E27FC236}">
                <a16:creationId xmlns:a16="http://schemas.microsoft.com/office/drawing/2014/main" id="{2348782E-1AFC-41D3-9D28-49123E7276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532" y="1505044"/>
            <a:ext cx="8291345" cy="525785"/>
          </a:xfrm>
          <a:prstGeom prst="rect">
            <a:avLst/>
          </a:prstGeom>
          <a:solidFill>
            <a:srgbClr val="FF7C80">
              <a:alpha val="42000"/>
            </a:srgbClr>
          </a:solidFill>
          <a:ln>
            <a:noFill/>
          </a:ln>
        </p:spPr>
        <p:txBody>
          <a:bodyPr wrap="square" anchor="ctr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357188" indent="-26987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470297" lvl="1" indent="-214313" defTabSz="685800">
              <a:spcBef>
                <a:spcPts val="450"/>
              </a:spcBef>
              <a:buFont typeface="Courier New" panose="02070309020205020404" pitchFamily="49" charset="0"/>
              <a:buChar char="o"/>
              <a:defRPr/>
            </a:pP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Through 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adopting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 an existing prototype in a 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COSMO test-version 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as an 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extension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 of the 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‘</a:t>
            </a:r>
            <a:r>
              <a:rPr lang="en-GB" altLang="de-DE" sz="1200" b="1" dirty="0" err="1">
                <a:solidFill>
                  <a:srgbClr val="000000"/>
                </a:solidFill>
                <a:latin typeface="Arial Narrow" pitchFamily="34" charset="0"/>
              </a:rPr>
              <a:t>mrsurf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’ development</a:t>
            </a:r>
          </a:p>
          <a:p>
            <a:pPr marL="602456" lvl="1" indent="-214313" defTabSz="685800"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Skin-layer equilibrium =&gt; heat budget of cover layer</a:t>
            </a:r>
            <a:endParaRPr lang="en-GB" altLang="de-DE" sz="120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" name="Rectangle 73">
            <a:extLst>
              <a:ext uri="{FF2B5EF4-FFF2-40B4-BE49-F238E27FC236}">
                <a16:creationId xmlns:a16="http://schemas.microsoft.com/office/drawing/2014/main" id="{2348782E-1AFC-41D3-9D28-49123E7276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532" y="444357"/>
            <a:ext cx="8291345" cy="1023357"/>
          </a:xfrm>
          <a:prstGeom prst="rect">
            <a:avLst/>
          </a:prstGeom>
          <a:solidFill>
            <a:srgbClr val="33CC33">
              <a:alpha val="42000"/>
            </a:srgbClr>
          </a:solidFill>
          <a:ln>
            <a:noFill/>
          </a:ln>
        </p:spPr>
        <p:txBody>
          <a:bodyPr wrap="square" anchor="ctr"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357188" indent="-26987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470297" lvl="1" defTabSz="685800">
              <a:spcBef>
                <a:spcPts val="450"/>
              </a:spcBef>
              <a:buFont typeface="Courier New" panose="02070309020205020404" pitchFamily="49" charset="0"/>
              <a:buChar char="o"/>
              <a:defRPr/>
            </a:pP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by a treating an 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additional heat budget 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of a 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cover-layer above the sf soil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 (consisting of 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R-elements from land-use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), which is</a:t>
            </a:r>
          </a:p>
          <a:p>
            <a:pPr marL="607219" lvl="1" indent="-214313" defTabSz="685800"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Mass-carrying</a:t>
            </a:r>
          </a:p>
          <a:p>
            <a:pPr marL="607219" lvl="1" indent="-214313"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Semi-transparent</a:t>
            </a:r>
          </a:p>
          <a:p>
            <a:pPr marL="607219" lvl="1" indent="-214313" defTabSz="685800">
              <a:spcBef>
                <a:spcPts val="450"/>
              </a:spcBef>
              <a:buFont typeface="Arial" panose="020B0604020202020204" pitchFamily="34" charset="0"/>
              <a:buChar char="•"/>
              <a:defRPr/>
            </a:pP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Layered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 with, a 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profile of surface temperature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s and an 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adapted resistance coupling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 for 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sensible </a:t>
            </a:r>
            <a:r>
              <a:rPr lang="en-GB" altLang="de-DE" sz="1200" dirty="0">
                <a:solidFill>
                  <a:srgbClr val="000000"/>
                </a:solidFill>
                <a:latin typeface="Arial Narrow" pitchFamily="34" charset="0"/>
              </a:rPr>
              <a:t>and</a:t>
            </a:r>
            <a:r>
              <a:rPr lang="en-GB" altLang="de-DE" sz="1200" b="1" dirty="0">
                <a:solidFill>
                  <a:srgbClr val="000000"/>
                </a:solidFill>
                <a:latin typeface="Arial Narrow" pitchFamily="34" charset="0"/>
              </a:rPr>
              <a:t> latent heat transfer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1007379" y="2326591"/>
            <a:ext cx="2591991" cy="151793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685800">
              <a:spcBef>
                <a:spcPct val="0"/>
              </a:spcBef>
              <a:buNone/>
              <a:defRPr/>
            </a:pPr>
            <a:endParaRPr lang="de-DE" altLang="de-DE" sz="1800">
              <a:solidFill>
                <a:srgbClr val="000000"/>
              </a:solidFill>
              <a:latin typeface="Symbol" pitchFamily="18" charset="2"/>
              <a:cs typeface="Arial" charset="0"/>
            </a:endParaRPr>
          </a:p>
        </p:txBody>
      </p:sp>
      <p:sp>
        <p:nvSpPr>
          <p:cNvPr id="9" name="Freihandform 40"/>
          <p:cNvSpPr>
            <a:spLocks/>
          </p:cNvSpPr>
          <p:nvPr/>
        </p:nvSpPr>
        <p:spPr bwMode="auto">
          <a:xfrm>
            <a:off x="1007379" y="3337322"/>
            <a:ext cx="2581275" cy="525066"/>
          </a:xfrm>
          <a:custGeom>
            <a:avLst/>
            <a:gdLst>
              <a:gd name="T0" fmla="*/ 177961 w 3000054"/>
              <a:gd name="T1" fmla="*/ 586727 h 700235"/>
              <a:gd name="T2" fmla="*/ 533880 w 3000054"/>
              <a:gd name="T3" fmla="*/ 617522 h 700235"/>
              <a:gd name="T4" fmla="*/ 818617 w 3000054"/>
              <a:gd name="T5" fmla="*/ 627788 h 700235"/>
              <a:gd name="T6" fmla="*/ 1067760 w 3000054"/>
              <a:gd name="T7" fmla="*/ 484070 h 700235"/>
              <a:gd name="T8" fmla="*/ 1014371 w 3000054"/>
              <a:gd name="T9" fmla="*/ 371150 h 700235"/>
              <a:gd name="T10" fmla="*/ 462696 w 3000054"/>
              <a:gd name="T11" fmla="*/ 340354 h 700235"/>
              <a:gd name="T12" fmla="*/ 124571 w 3000054"/>
              <a:gd name="T13" fmla="*/ 309557 h 700235"/>
              <a:gd name="T14" fmla="*/ 498288 w 3000054"/>
              <a:gd name="T15" fmla="*/ 309557 h 700235"/>
              <a:gd name="T16" fmla="*/ 1014371 w 3000054"/>
              <a:gd name="T17" fmla="*/ 104246 h 700235"/>
              <a:gd name="T18" fmla="*/ 800819 w 3000054"/>
              <a:gd name="T19" fmla="*/ 52919 h 700235"/>
              <a:gd name="T20" fmla="*/ 106777 w 3000054"/>
              <a:gd name="T21" fmla="*/ 11858 h 700235"/>
              <a:gd name="T22" fmla="*/ 1245718 w 3000054"/>
              <a:gd name="T23" fmla="*/ 32387 h 700235"/>
              <a:gd name="T24" fmla="*/ 2064336 w 3000054"/>
              <a:gd name="T25" fmla="*/ 52919 h 700235"/>
              <a:gd name="T26" fmla="*/ 1744008 w 3000054"/>
              <a:gd name="T27" fmla="*/ 52919 h 700235"/>
              <a:gd name="T28" fmla="*/ 1263515 w 3000054"/>
              <a:gd name="T29" fmla="*/ 73451 h 700235"/>
              <a:gd name="T30" fmla="*/ 1174536 w 3000054"/>
              <a:gd name="T31" fmla="*/ 217165 h 700235"/>
              <a:gd name="T32" fmla="*/ 1477066 w 3000054"/>
              <a:gd name="T33" fmla="*/ 278758 h 700235"/>
              <a:gd name="T34" fmla="*/ 2064336 w 3000054"/>
              <a:gd name="T35" fmla="*/ 299291 h 700235"/>
              <a:gd name="T36" fmla="*/ 2277885 w 3000054"/>
              <a:gd name="T37" fmla="*/ 340354 h 700235"/>
              <a:gd name="T38" fmla="*/ 1815191 w 3000054"/>
              <a:gd name="T39" fmla="*/ 350618 h 700235"/>
              <a:gd name="T40" fmla="*/ 1352495 w 3000054"/>
              <a:gd name="T41" fmla="*/ 350618 h 700235"/>
              <a:gd name="T42" fmla="*/ 1281312 w 3000054"/>
              <a:gd name="T43" fmla="*/ 586727 h 700235"/>
              <a:gd name="T44" fmla="*/ 1744008 w 3000054"/>
              <a:gd name="T45" fmla="*/ 648320 h 700235"/>
              <a:gd name="T46" fmla="*/ 2402460 w 3000054"/>
              <a:gd name="T47" fmla="*/ 679115 h 700235"/>
              <a:gd name="T48" fmla="*/ 2954133 w 3000054"/>
              <a:gd name="T49" fmla="*/ 668851 h 700235"/>
              <a:gd name="T50" fmla="*/ 3399032 w 3000054"/>
              <a:gd name="T51" fmla="*/ 638054 h 700235"/>
              <a:gd name="T52" fmla="*/ 3363441 w 3000054"/>
              <a:gd name="T53" fmla="*/ 350618 h 700235"/>
              <a:gd name="T54" fmla="*/ 2865153 w 3000054"/>
              <a:gd name="T55" fmla="*/ 319823 h 700235"/>
              <a:gd name="T56" fmla="*/ 3576993 w 3000054"/>
              <a:gd name="T57" fmla="*/ 268496 h 700235"/>
              <a:gd name="T58" fmla="*/ 3559198 w 3000054"/>
              <a:gd name="T59" fmla="*/ 145306 h 700235"/>
              <a:gd name="T60" fmla="*/ 2954133 w 3000054"/>
              <a:gd name="T61" fmla="*/ 73451 h 700235"/>
              <a:gd name="T62" fmla="*/ 4787121 w 3000054"/>
              <a:gd name="T63" fmla="*/ 52919 h 700235"/>
              <a:gd name="T64" fmla="*/ 4591364 w 3000054"/>
              <a:gd name="T65" fmla="*/ 73451 h 700235"/>
              <a:gd name="T66" fmla="*/ 4324425 w 3000054"/>
              <a:gd name="T67" fmla="*/ 104246 h 700235"/>
              <a:gd name="T68" fmla="*/ 3719361 w 3000054"/>
              <a:gd name="T69" fmla="*/ 217165 h 700235"/>
              <a:gd name="T70" fmla="*/ 3915117 w 3000054"/>
              <a:gd name="T71" fmla="*/ 278758 h 700235"/>
              <a:gd name="T72" fmla="*/ 5000671 w 3000054"/>
              <a:gd name="T73" fmla="*/ 299291 h 700235"/>
              <a:gd name="T74" fmla="*/ 4751527 w 3000054"/>
              <a:gd name="T75" fmla="*/ 371150 h 700235"/>
              <a:gd name="T76" fmla="*/ 4093076 w 3000054"/>
              <a:gd name="T77" fmla="*/ 360884 h 700235"/>
              <a:gd name="T78" fmla="*/ 3843932 w 3000054"/>
              <a:gd name="T79" fmla="*/ 391682 h 700235"/>
              <a:gd name="T80" fmla="*/ 3754952 w 3000054"/>
              <a:gd name="T81" fmla="*/ 535400 h 700235"/>
              <a:gd name="T82" fmla="*/ 3897322 w 3000054"/>
              <a:gd name="T83" fmla="*/ 627788 h 700235"/>
              <a:gd name="T84" fmla="*/ 4360016 w 3000054"/>
              <a:gd name="T85" fmla="*/ 658586 h 700235"/>
              <a:gd name="T86" fmla="*/ 4769322 w 3000054"/>
              <a:gd name="T87" fmla="*/ 668851 h 700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3000054" h="700235">
                <a:moveTo>
                  <a:pt x="0" y="618042"/>
                </a:moveTo>
                <a:lnTo>
                  <a:pt x="71919" y="597493"/>
                </a:lnTo>
                <a:cubicBezTo>
                  <a:pt x="82292" y="594381"/>
                  <a:pt x="91912" y="587219"/>
                  <a:pt x="102742" y="587219"/>
                </a:cubicBezTo>
                <a:cubicBezTo>
                  <a:pt x="147395" y="587219"/>
                  <a:pt x="191785" y="594068"/>
                  <a:pt x="236306" y="597493"/>
                </a:cubicBezTo>
                <a:cubicBezTo>
                  <a:pt x="250005" y="600918"/>
                  <a:pt x="263826" y="603888"/>
                  <a:pt x="277403" y="607767"/>
                </a:cubicBezTo>
                <a:cubicBezTo>
                  <a:pt x="287816" y="610742"/>
                  <a:pt x="297395" y="618042"/>
                  <a:pt x="308225" y="618042"/>
                </a:cubicBezTo>
                <a:cubicBezTo>
                  <a:pt x="329057" y="618042"/>
                  <a:pt x="349322" y="611192"/>
                  <a:pt x="369870" y="607767"/>
                </a:cubicBezTo>
                <a:cubicBezTo>
                  <a:pt x="393843" y="611192"/>
                  <a:pt x="418043" y="613293"/>
                  <a:pt x="441789" y="618042"/>
                </a:cubicBezTo>
                <a:cubicBezTo>
                  <a:pt x="452409" y="620166"/>
                  <a:pt x="461782" y="628316"/>
                  <a:pt x="472612" y="628316"/>
                </a:cubicBezTo>
                <a:cubicBezTo>
                  <a:pt x="497410" y="628316"/>
                  <a:pt x="530482" y="615875"/>
                  <a:pt x="554805" y="607767"/>
                </a:cubicBezTo>
                <a:cubicBezTo>
                  <a:pt x="625640" y="631379"/>
                  <a:pt x="601134" y="643632"/>
                  <a:pt x="636998" y="607767"/>
                </a:cubicBezTo>
                <a:cubicBezTo>
                  <a:pt x="631199" y="567171"/>
                  <a:pt x="626466" y="524542"/>
                  <a:pt x="616450" y="484478"/>
                </a:cubicBezTo>
                <a:cubicBezTo>
                  <a:pt x="613823" y="473971"/>
                  <a:pt x="608803" y="464162"/>
                  <a:pt x="606176" y="453655"/>
                </a:cubicBezTo>
                <a:cubicBezTo>
                  <a:pt x="601941" y="436714"/>
                  <a:pt x="600137" y="419225"/>
                  <a:pt x="595901" y="402284"/>
                </a:cubicBezTo>
                <a:cubicBezTo>
                  <a:pt x="593274" y="391778"/>
                  <a:pt x="594440" y="377757"/>
                  <a:pt x="585627" y="371462"/>
                </a:cubicBezTo>
                <a:cubicBezTo>
                  <a:pt x="568002" y="358873"/>
                  <a:pt x="523982" y="350914"/>
                  <a:pt x="523982" y="350914"/>
                </a:cubicBezTo>
                <a:cubicBezTo>
                  <a:pt x="500009" y="354339"/>
                  <a:pt x="476279" y="361188"/>
                  <a:pt x="452063" y="361188"/>
                </a:cubicBezTo>
                <a:cubicBezTo>
                  <a:pt x="401784" y="361188"/>
                  <a:pt x="322083" y="351630"/>
                  <a:pt x="267128" y="340639"/>
                </a:cubicBezTo>
                <a:cubicBezTo>
                  <a:pt x="253282" y="337870"/>
                  <a:pt x="240043" y="332116"/>
                  <a:pt x="226032" y="330365"/>
                </a:cubicBezTo>
                <a:cubicBezTo>
                  <a:pt x="185111" y="325250"/>
                  <a:pt x="143839" y="323516"/>
                  <a:pt x="102742" y="320091"/>
                </a:cubicBezTo>
                <a:cubicBezTo>
                  <a:pt x="92468" y="316666"/>
                  <a:pt x="80930" y="315824"/>
                  <a:pt x="71919" y="309817"/>
                </a:cubicBezTo>
                <a:cubicBezTo>
                  <a:pt x="59829" y="301757"/>
                  <a:pt x="26695" y="280914"/>
                  <a:pt x="41097" y="278994"/>
                </a:cubicBezTo>
                <a:cubicBezTo>
                  <a:pt x="102296" y="270834"/>
                  <a:pt x="164387" y="285844"/>
                  <a:pt x="226032" y="289269"/>
                </a:cubicBezTo>
                <a:cubicBezTo>
                  <a:pt x="246580" y="296118"/>
                  <a:pt x="266059" y="311168"/>
                  <a:pt x="287677" y="309817"/>
                </a:cubicBezTo>
                <a:lnTo>
                  <a:pt x="616450" y="289269"/>
                </a:lnTo>
                <a:cubicBezTo>
                  <a:pt x="613025" y="248172"/>
                  <a:pt x="612956" y="206657"/>
                  <a:pt x="606176" y="165979"/>
                </a:cubicBezTo>
                <a:cubicBezTo>
                  <a:pt x="602615" y="144614"/>
                  <a:pt x="600943" y="119650"/>
                  <a:pt x="585627" y="104334"/>
                </a:cubicBezTo>
                <a:cubicBezTo>
                  <a:pt x="578778" y="97484"/>
                  <a:pt x="573385" y="88769"/>
                  <a:pt x="565079" y="83785"/>
                </a:cubicBezTo>
                <a:cubicBezTo>
                  <a:pt x="555792" y="78213"/>
                  <a:pt x="544669" y="76486"/>
                  <a:pt x="534256" y="73511"/>
                </a:cubicBezTo>
                <a:cubicBezTo>
                  <a:pt x="443950" y="47710"/>
                  <a:pt x="536241" y="77597"/>
                  <a:pt x="462337" y="52963"/>
                </a:cubicBezTo>
                <a:cubicBezTo>
                  <a:pt x="380390" y="60413"/>
                  <a:pt x="249635" y="73511"/>
                  <a:pt x="174661" y="73511"/>
                </a:cubicBezTo>
                <a:cubicBezTo>
                  <a:pt x="133422" y="73511"/>
                  <a:pt x="92468" y="66662"/>
                  <a:pt x="51371" y="63237"/>
                </a:cubicBezTo>
                <a:cubicBezTo>
                  <a:pt x="54796" y="46113"/>
                  <a:pt x="44954" y="17002"/>
                  <a:pt x="61645" y="11866"/>
                </a:cubicBezTo>
                <a:cubicBezTo>
                  <a:pt x="172748" y="-22320"/>
                  <a:pt x="153919" y="27762"/>
                  <a:pt x="226032" y="32415"/>
                </a:cubicBezTo>
                <a:cubicBezTo>
                  <a:pt x="318371" y="38373"/>
                  <a:pt x="410967" y="39264"/>
                  <a:pt x="503434" y="42689"/>
                </a:cubicBezTo>
                <a:lnTo>
                  <a:pt x="719191" y="32415"/>
                </a:lnTo>
                <a:cubicBezTo>
                  <a:pt x="780850" y="29253"/>
                  <a:pt x="842386" y="22140"/>
                  <a:pt x="904126" y="22140"/>
                </a:cubicBezTo>
                <a:cubicBezTo>
                  <a:pt x="993235" y="22140"/>
                  <a:pt x="1082211" y="28990"/>
                  <a:pt x="1171254" y="32415"/>
                </a:cubicBezTo>
                <a:cubicBezTo>
                  <a:pt x="1178104" y="39264"/>
                  <a:pt x="1183497" y="47979"/>
                  <a:pt x="1191803" y="52963"/>
                </a:cubicBezTo>
                <a:cubicBezTo>
                  <a:pt x="1221158" y="70575"/>
                  <a:pt x="1244640" y="55899"/>
                  <a:pt x="1191803" y="73511"/>
                </a:cubicBezTo>
                <a:cubicBezTo>
                  <a:pt x="1140432" y="70086"/>
                  <a:pt x="1088860" y="68922"/>
                  <a:pt x="1037690" y="63237"/>
                </a:cubicBezTo>
                <a:cubicBezTo>
                  <a:pt x="1026926" y="62041"/>
                  <a:pt x="1017281" y="55938"/>
                  <a:pt x="1006868" y="52963"/>
                </a:cubicBezTo>
                <a:cubicBezTo>
                  <a:pt x="916563" y="27162"/>
                  <a:pt x="1008849" y="57048"/>
                  <a:pt x="934949" y="32415"/>
                </a:cubicBezTo>
                <a:cubicBezTo>
                  <a:pt x="800361" y="44650"/>
                  <a:pt x="857820" y="30727"/>
                  <a:pt x="760288" y="63237"/>
                </a:cubicBezTo>
                <a:lnTo>
                  <a:pt x="729465" y="73511"/>
                </a:lnTo>
                <a:lnTo>
                  <a:pt x="698643" y="83785"/>
                </a:lnTo>
                <a:cubicBezTo>
                  <a:pt x="684944" y="97484"/>
                  <a:pt x="653746" y="105885"/>
                  <a:pt x="657546" y="124882"/>
                </a:cubicBezTo>
                <a:cubicBezTo>
                  <a:pt x="658626" y="130283"/>
                  <a:pt x="673260" y="207678"/>
                  <a:pt x="678095" y="217349"/>
                </a:cubicBezTo>
                <a:cubicBezTo>
                  <a:pt x="689139" y="239438"/>
                  <a:pt x="695763" y="271184"/>
                  <a:pt x="719191" y="278994"/>
                </a:cubicBezTo>
                <a:lnTo>
                  <a:pt x="750014" y="289269"/>
                </a:lnTo>
                <a:cubicBezTo>
                  <a:pt x="784261" y="285844"/>
                  <a:pt x="818337" y="278994"/>
                  <a:pt x="852755" y="278994"/>
                </a:cubicBezTo>
                <a:cubicBezTo>
                  <a:pt x="988653" y="278994"/>
                  <a:pt x="841724" y="291437"/>
                  <a:pt x="934949" y="299543"/>
                </a:cubicBezTo>
                <a:cubicBezTo>
                  <a:pt x="1003271" y="305484"/>
                  <a:pt x="1071938" y="306392"/>
                  <a:pt x="1140432" y="309817"/>
                </a:cubicBezTo>
                <a:cubicBezTo>
                  <a:pt x="1157556" y="306392"/>
                  <a:pt x="1174862" y="303778"/>
                  <a:pt x="1191803" y="299543"/>
                </a:cubicBezTo>
                <a:cubicBezTo>
                  <a:pt x="1202309" y="296916"/>
                  <a:pt x="1211795" y="289269"/>
                  <a:pt x="1222625" y="289269"/>
                </a:cubicBezTo>
                <a:cubicBezTo>
                  <a:pt x="1248669" y="289269"/>
                  <a:pt x="1374783" y="305720"/>
                  <a:pt x="1407560" y="309817"/>
                </a:cubicBezTo>
                <a:lnTo>
                  <a:pt x="1315092" y="340639"/>
                </a:lnTo>
                <a:cubicBezTo>
                  <a:pt x="1304818" y="344064"/>
                  <a:pt x="1295046" y="349836"/>
                  <a:pt x="1284270" y="350914"/>
                </a:cubicBezTo>
                <a:lnTo>
                  <a:pt x="1181528" y="361188"/>
                </a:lnTo>
                <a:cubicBezTo>
                  <a:pt x="1137007" y="357763"/>
                  <a:pt x="1092311" y="356131"/>
                  <a:pt x="1047964" y="350914"/>
                </a:cubicBezTo>
                <a:cubicBezTo>
                  <a:pt x="1033940" y="349264"/>
                  <a:pt x="1020918" y="342044"/>
                  <a:pt x="1006868" y="340639"/>
                </a:cubicBezTo>
                <a:cubicBezTo>
                  <a:pt x="952238" y="335176"/>
                  <a:pt x="897277" y="333790"/>
                  <a:pt x="842481" y="330365"/>
                </a:cubicBezTo>
                <a:cubicBezTo>
                  <a:pt x="821933" y="337215"/>
                  <a:pt x="799770" y="340395"/>
                  <a:pt x="780836" y="350914"/>
                </a:cubicBezTo>
                <a:cubicBezTo>
                  <a:pt x="759897" y="362547"/>
                  <a:pt x="742254" y="393375"/>
                  <a:pt x="729465" y="412558"/>
                </a:cubicBezTo>
                <a:cubicBezTo>
                  <a:pt x="710186" y="470398"/>
                  <a:pt x="715701" y="439501"/>
                  <a:pt x="729465" y="535848"/>
                </a:cubicBezTo>
                <a:cubicBezTo>
                  <a:pt x="731935" y="553135"/>
                  <a:pt x="733608" y="570868"/>
                  <a:pt x="739740" y="587219"/>
                </a:cubicBezTo>
                <a:cubicBezTo>
                  <a:pt x="744076" y="598781"/>
                  <a:pt x="748357" y="614860"/>
                  <a:pt x="760288" y="618042"/>
                </a:cubicBezTo>
                <a:cubicBezTo>
                  <a:pt x="803433" y="629547"/>
                  <a:pt x="849331" y="624891"/>
                  <a:pt x="893852" y="628316"/>
                </a:cubicBezTo>
                <a:cubicBezTo>
                  <a:pt x="938102" y="637166"/>
                  <a:pt x="960861" y="642292"/>
                  <a:pt x="1006868" y="648864"/>
                </a:cubicBezTo>
                <a:cubicBezTo>
                  <a:pt x="1034201" y="652769"/>
                  <a:pt x="1061498" y="657517"/>
                  <a:pt x="1089061" y="659138"/>
                </a:cubicBezTo>
                <a:cubicBezTo>
                  <a:pt x="1178016" y="664371"/>
                  <a:pt x="1267146" y="665987"/>
                  <a:pt x="1356189" y="669412"/>
                </a:cubicBezTo>
                <a:cubicBezTo>
                  <a:pt x="1366463" y="672837"/>
                  <a:pt x="1376392" y="677563"/>
                  <a:pt x="1387012" y="679687"/>
                </a:cubicBezTo>
                <a:cubicBezTo>
                  <a:pt x="1444530" y="691191"/>
                  <a:pt x="1528844" y="695787"/>
                  <a:pt x="1582221" y="700235"/>
                </a:cubicBezTo>
                <a:cubicBezTo>
                  <a:pt x="1602769" y="696810"/>
                  <a:pt x="1623656" y="695013"/>
                  <a:pt x="1643865" y="689961"/>
                </a:cubicBezTo>
                <a:cubicBezTo>
                  <a:pt x="1664878" y="684708"/>
                  <a:pt x="1683898" y="670853"/>
                  <a:pt x="1705510" y="669412"/>
                </a:cubicBezTo>
                <a:lnTo>
                  <a:pt x="1859623" y="659138"/>
                </a:lnTo>
                <a:cubicBezTo>
                  <a:pt x="1873322" y="655713"/>
                  <a:pt x="1886873" y="651633"/>
                  <a:pt x="1900719" y="648864"/>
                </a:cubicBezTo>
                <a:cubicBezTo>
                  <a:pt x="1921146" y="644779"/>
                  <a:pt x="1946097" y="651604"/>
                  <a:pt x="1962364" y="638590"/>
                </a:cubicBezTo>
                <a:cubicBezTo>
                  <a:pt x="1970821" y="631824"/>
                  <a:pt x="1955515" y="618041"/>
                  <a:pt x="1952090" y="607767"/>
                </a:cubicBezTo>
                <a:cubicBezTo>
                  <a:pt x="1955515" y="597493"/>
                  <a:pt x="1962797" y="587766"/>
                  <a:pt x="1962364" y="576945"/>
                </a:cubicBezTo>
                <a:cubicBezTo>
                  <a:pt x="1959340" y="501351"/>
                  <a:pt x="1976811" y="417988"/>
                  <a:pt x="1941816" y="350914"/>
                </a:cubicBezTo>
                <a:cubicBezTo>
                  <a:pt x="1925895" y="320399"/>
                  <a:pt x="1873190" y="345188"/>
                  <a:pt x="1839074" y="340639"/>
                </a:cubicBezTo>
                <a:cubicBezTo>
                  <a:pt x="1821765" y="338331"/>
                  <a:pt x="1805060" y="332293"/>
                  <a:pt x="1787704" y="330365"/>
                </a:cubicBezTo>
                <a:cubicBezTo>
                  <a:pt x="1743324" y="325434"/>
                  <a:pt x="1698661" y="323516"/>
                  <a:pt x="1654140" y="320091"/>
                </a:cubicBezTo>
                <a:cubicBezTo>
                  <a:pt x="1585182" y="297106"/>
                  <a:pt x="1579377" y="299543"/>
                  <a:pt x="1767155" y="299543"/>
                </a:cubicBezTo>
                <a:cubicBezTo>
                  <a:pt x="1791371" y="299543"/>
                  <a:pt x="1815101" y="306392"/>
                  <a:pt x="1839074" y="309817"/>
                </a:cubicBezTo>
                <a:cubicBezTo>
                  <a:pt x="2033839" y="300543"/>
                  <a:pt x="2036849" y="367621"/>
                  <a:pt x="2065106" y="268720"/>
                </a:cubicBezTo>
                <a:cubicBezTo>
                  <a:pt x="2068985" y="255143"/>
                  <a:pt x="2071955" y="241323"/>
                  <a:pt x="2075380" y="227624"/>
                </a:cubicBezTo>
                <a:cubicBezTo>
                  <a:pt x="2071955" y="217350"/>
                  <a:pt x="2067733" y="207308"/>
                  <a:pt x="2065106" y="196801"/>
                </a:cubicBezTo>
                <a:cubicBezTo>
                  <a:pt x="2060871" y="179860"/>
                  <a:pt x="2062058" y="161328"/>
                  <a:pt x="2054832" y="145430"/>
                </a:cubicBezTo>
                <a:cubicBezTo>
                  <a:pt x="2044613" y="122948"/>
                  <a:pt x="2013735" y="83785"/>
                  <a:pt x="2013735" y="83785"/>
                </a:cubicBezTo>
                <a:cubicBezTo>
                  <a:pt x="1950215" y="104960"/>
                  <a:pt x="2003062" y="92127"/>
                  <a:pt x="1890445" y="83785"/>
                </a:cubicBezTo>
                <a:cubicBezTo>
                  <a:pt x="1828874" y="79224"/>
                  <a:pt x="1767155" y="76936"/>
                  <a:pt x="1705510" y="73511"/>
                </a:cubicBezTo>
                <a:cubicBezTo>
                  <a:pt x="1695236" y="63237"/>
                  <a:pt x="1660415" y="45408"/>
                  <a:pt x="1674688" y="42689"/>
                </a:cubicBezTo>
                <a:cubicBezTo>
                  <a:pt x="1792397" y="20269"/>
                  <a:pt x="2062474" y="38063"/>
                  <a:pt x="2178122" y="42689"/>
                </a:cubicBezTo>
                <a:cubicBezTo>
                  <a:pt x="2433177" y="27686"/>
                  <a:pt x="2427478" y="21682"/>
                  <a:pt x="2763749" y="52963"/>
                </a:cubicBezTo>
                <a:cubicBezTo>
                  <a:pt x="2776044" y="54107"/>
                  <a:pt x="2794571" y="61163"/>
                  <a:pt x="2794571" y="73511"/>
                </a:cubicBezTo>
                <a:cubicBezTo>
                  <a:pt x="2794571" y="84341"/>
                  <a:pt x="2774023" y="66662"/>
                  <a:pt x="2763749" y="63237"/>
                </a:cubicBezTo>
                <a:cubicBezTo>
                  <a:pt x="2726077" y="66662"/>
                  <a:pt x="2688229" y="68512"/>
                  <a:pt x="2650733" y="73511"/>
                </a:cubicBezTo>
                <a:cubicBezTo>
                  <a:pt x="2636736" y="75377"/>
                  <a:pt x="2623529" y="81259"/>
                  <a:pt x="2609636" y="83785"/>
                </a:cubicBezTo>
                <a:cubicBezTo>
                  <a:pt x="2585810" y="88117"/>
                  <a:pt x="2561543" y="89728"/>
                  <a:pt x="2537717" y="94060"/>
                </a:cubicBezTo>
                <a:cubicBezTo>
                  <a:pt x="2523825" y="96586"/>
                  <a:pt x="2510720" y="103551"/>
                  <a:pt x="2496621" y="104334"/>
                </a:cubicBezTo>
                <a:cubicBezTo>
                  <a:pt x="2387145" y="110416"/>
                  <a:pt x="2277438" y="111183"/>
                  <a:pt x="2167847" y="114608"/>
                </a:cubicBezTo>
                <a:cubicBezTo>
                  <a:pt x="2157457" y="130193"/>
                  <a:pt x="2137025" y="154984"/>
                  <a:pt x="2137025" y="176253"/>
                </a:cubicBezTo>
                <a:cubicBezTo>
                  <a:pt x="2137025" y="190373"/>
                  <a:pt x="2140984" y="204719"/>
                  <a:pt x="2147299" y="217349"/>
                </a:cubicBezTo>
                <a:cubicBezTo>
                  <a:pt x="2151631" y="226013"/>
                  <a:pt x="2159541" y="232914"/>
                  <a:pt x="2167847" y="237898"/>
                </a:cubicBezTo>
                <a:cubicBezTo>
                  <a:pt x="2177134" y="243470"/>
                  <a:pt x="2188396" y="244747"/>
                  <a:pt x="2198670" y="248172"/>
                </a:cubicBezTo>
                <a:cubicBezTo>
                  <a:pt x="2214255" y="258562"/>
                  <a:pt x="2239046" y="278994"/>
                  <a:pt x="2260315" y="278994"/>
                </a:cubicBezTo>
                <a:cubicBezTo>
                  <a:pt x="2281147" y="278994"/>
                  <a:pt x="2301412" y="272145"/>
                  <a:pt x="2321960" y="268720"/>
                </a:cubicBezTo>
                <a:cubicBezTo>
                  <a:pt x="2349180" y="269325"/>
                  <a:pt x="2703855" y="258796"/>
                  <a:pt x="2856216" y="289269"/>
                </a:cubicBezTo>
                <a:cubicBezTo>
                  <a:pt x="2866835" y="291393"/>
                  <a:pt x="2876764" y="296118"/>
                  <a:pt x="2887038" y="299543"/>
                </a:cubicBezTo>
                <a:cubicBezTo>
                  <a:pt x="2873339" y="306392"/>
                  <a:pt x="2859240" y="312492"/>
                  <a:pt x="2845942" y="320091"/>
                </a:cubicBezTo>
                <a:cubicBezTo>
                  <a:pt x="2794358" y="349567"/>
                  <a:pt x="2836108" y="334580"/>
                  <a:pt x="2774023" y="361188"/>
                </a:cubicBezTo>
                <a:cubicBezTo>
                  <a:pt x="2764069" y="365454"/>
                  <a:pt x="2753474" y="368037"/>
                  <a:pt x="2743200" y="371462"/>
                </a:cubicBezTo>
                <a:cubicBezTo>
                  <a:pt x="2722652" y="368037"/>
                  <a:pt x="2701891" y="365707"/>
                  <a:pt x="2681555" y="361188"/>
                </a:cubicBezTo>
                <a:cubicBezTo>
                  <a:pt x="2670983" y="358839"/>
                  <a:pt x="2661563" y="350914"/>
                  <a:pt x="2650733" y="350914"/>
                </a:cubicBezTo>
                <a:cubicBezTo>
                  <a:pt x="2554780" y="350914"/>
                  <a:pt x="2458948" y="357763"/>
                  <a:pt x="2363056" y="361188"/>
                </a:cubicBezTo>
                <a:cubicBezTo>
                  <a:pt x="2345933" y="364613"/>
                  <a:pt x="2328627" y="367227"/>
                  <a:pt x="2311686" y="371462"/>
                </a:cubicBezTo>
                <a:cubicBezTo>
                  <a:pt x="2301179" y="374089"/>
                  <a:pt x="2291435" y="379387"/>
                  <a:pt x="2280863" y="381736"/>
                </a:cubicBezTo>
                <a:cubicBezTo>
                  <a:pt x="2260527" y="386255"/>
                  <a:pt x="2239766" y="388585"/>
                  <a:pt x="2219218" y="392010"/>
                </a:cubicBezTo>
                <a:cubicBezTo>
                  <a:pt x="2194973" y="400092"/>
                  <a:pt x="2181951" y="399327"/>
                  <a:pt x="2167847" y="422833"/>
                </a:cubicBezTo>
                <a:cubicBezTo>
                  <a:pt x="2162275" y="432119"/>
                  <a:pt x="2160998" y="443381"/>
                  <a:pt x="2157573" y="453655"/>
                </a:cubicBezTo>
                <a:cubicBezTo>
                  <a:pt x="2160998" y="481053"/>
                  <a:pt x="2162908" y="508683"/>
                  <a:pt x="2167847" y="535848"/>
                </a:cubicBezTo>
                <a:cubicBezTo>
                  <a:pt x="2172315" y="560423"/>
                  <a:pt x="2183187" y="578139"/>
                  <a:pt x="2198670" y="597493"/>
                </a:cubicBezTo>
                <a:cubicBezTo>
                  <a:pt x="2204721" y="605057"/>
                  <a:pt x="2210912" y="613058"/>
                  <a:pt x="2219218" y="618042"/>
                </a:cubicBezTo>
                <a:cubicBezTo>
                  <a:pt x="2228505" y="623614"/>
                  <a:pt x="2239628" y="625341"/>
                  <a:pt x="2250041" y="628316"/>
                </a:cubicBezTo>
                <a:cubicBezTo>
                  <a:pt x="2340347" y="654117"/>
                  <a:pt x="2248056" y="624230"/>
                  <a:pt x="2321960" y="648864"/>
                </a:cubicBezTo>
                <a:cubicBezTo>
                  <a:pt x="2359632" y="645439"/>
                  <a:pt x="2397149" y="638590"/>
                  <a:pt x="2434976" y="638590"/>
                </a:cubicBezTo>
                <a:cubicBezTo>
                  <a:pt x="2459771" y="638590"/>
                  <a:pt x="2492848" y="651031"/>
                  <a:pt x="2517169" y="659138"/>
                </a:cubicBezTo>
                <a:cubicBezTo>
                  <a:pt x="2544567" y="652289"/>
                  <a:pt x="2571505" y="633947"/>
                  <a:pt x="2599362" y="638590"/>
                </a:cubicBezTo>
                <a:cubicBezTo>
                  <a:pt x="2619910" y="642015"/>
                  <a:pt x="2640671" y="644345"/>
                  <a:pt x="2661007" y="648864"/>
                </a:cubicBezTo>
                <a:cubicBezTo>
                  <a:pt x="2714804" y="660819"/>
                  <a:pt x="2674969" y="666795"/>
                  <a:pt x="2753474" y="669412"/>
                </a:cubicBezTo>
                <a:cubicBezTo>
                  <a:pt x="2835622" y="672150"/>
                  <a:pt x="2917861" y="669412"/>
                  <a:pt x="3000054" y="669412"/>
                </a:cubicBezTo>
              </a:path>
            </a:pathLst>
          </a:custGeom>
          <a:pattFill prst="sphere">
            <a:fgClr>
              <a:srgbClr val="996633"/>
            </a:fgClr>
            <a:bgClr>
              <a:srgbClr val="008000"/>
            </a:bgClr>
          </a:patt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defTabSz="685800">
              <a:defRPr/>
            </a:pPr>
            <a:endParaRPr lang="en-US" sz="1800">
              <a:solidFill>
                <a:srgbClr val="000000"/>
              </a:solidFill>
              <a:latin typeface="Symbol" pitchFamily="18" charset="2"/>
            </a:endParaRPr>
          </a:p>
        </p:txBody>
      </p:sp>
      <p:sp>
        <p:nvSpPr>
          <p:cNvPr id="10" name="Freihandform 41"/>
          <p:cNvSpPr>
            <a:spLocks/>
          </p:cNvSpPr>
          <p:nvPr/>
        </p:nvSpPr>
        <p:spPr bwMode="auto">
          <a:xfrm>
            <a:off x="1007380" y="3423049"/>
            <a:ext cx="354806" cy="69056"/>
          </a:xfrm>
          <a:custGeom>
            <a:avLst/>
            <a:gdLst>
              <a:gd name="T0" fmla="*/ 51046 w 473674"/>
              <a:gd name="T1" fmla="*/ 9984 h 92621"/>
              <a:gd name="T2" fmla="*/ 204186 w 473674"/>
              <a:gd name="T3" fmla="*/ 10 h 92621"/>
              <a:gd name="T4" fmla="*/ 367537 w 473674"/>
              <a:gd name="T5" fmla="*/ 19960 h 92621"/>
              <a:gd name="T6" fmla="*/ 449211 w 473674"/>
              <a:gd name="T7" fmla="*/ 39910 h 92621"/>
              <a:gd name="T8" fmla="*/ 418584 w 473674"/>
              <a:gd name="T9" fmla="*/ 69833 h 92621"/>
              <a:gd name="T10" fmla="*/ 51046 w 473674"/>
              <a:gd name="T11" fmla="*/ 79808 h 92621"/>
              <a:gd name="T12" fmla="*/ 0 w 473674"/>
              <a:gd name="T13" fmla="*/ 89783 h 926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73674" h="92621">
                <a:moveTo>
                  <a:pt x="51371" y="10284"/>
                </a:moveTo>
                <a:cubicBezTo>
                  <a:pt x="102742" y="6859"/>
                  <a:pt x="153998" y="10"/>
                  <a:pt x="205483" y="10"/>
                </a:cubicBezTo>
                <a:cubicBezTo>
                  <a:pt x="406003" y="10"/>
                  <a:pt x="283065" y="-1143"/>
                  <a:pt x="369870" y="20558"/>
                </a:cubicBezTo>
                <a:lnTo>
                  <a:pt x="452063" y="41107"/>
                </a:lnTo>
                <a:cubicBezTo>
                  <a:pt x="480092" y="69134"/>
                  <a:pt x="490887" y="68532"/>
                  <a:pt x="421241" y="71929"/>
                </a:cubicBezTo>
                <a:cubicBezTo>
                  <a:pt x="298050" y="77938"/>
                  <a:pt x="174661" y="78778"/>
                  <a:pt x="51371" y="82203"/>
                </a:cubicBezTo>
                <a:cubicBezTo>
                  <a:pt x="14051" y="94643"/>
                  <a:pt x="31379" y="92477"/>
                  <a:pt x="0" y="92477"/>
                </a:cubicBezTo>
              </a:path>
            </a:pathLst>
          </a:custGeom>
          <a:noFill/>
          <a:ln w="9525" cap="flat" cmpd="sng" algn="ctr">
            <a:solidFill>
              <a:srgbClr val="CC66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685800">
              <a:defRPr/>
            </a:pPr>
            <a:endParaRPr lang="en-US" sz="1800">
              <a:solidFill>
                <a:srgbClr val="000000"/>
              </a:solidFill>
              <a:latin typeface="Symbol" pitchFamily="18" charset="2"/>
            </a:endParaRPr>
          </a:p>
        </p:txBody>
      </p:sp>
      <p:sp>
        <p:nvSpPr>
          <p:cNvPr id="11" name="Freihandform 42"/>
          <p:cNvSpPr>
            <a:spLocks/>
          </p:cNvSpPr>
          <p:nvPr/>
        </p:nvSpPr>
        <p:spPr bwMode="auto">
          <a:xfrm>
            <a:off x="1050243" y="3668317"/>
            <a:ext cx="354806" cy="69056"/>
          </a:xfrm>
          <a:custGeom>
            <a:avLst/>
            <a:gdLst>
              <a:gd name="T0" fmla="*/ 51046 w 473674"/>
              <a:gd name="T1" fmla="*/ 9984 h 92621"/>
              <a:gd name="T2" fmla="*/ 204186 w 473674"/>
              <a:gd name="T3" fmla="*/ 10 h 92621"/>
              <a:gd name="T4" fmla="*/ 367537 w 473674"/>
              <a:gd name="T5" fmla="*/ 19960 h 92621"/>
              <a:gd name="T6" fmla="*/ 449211 w 473674"/>
              <a:gd name="T7" fmla="*/ 39910 h 92621"/>
              <a:gd name="T8" fmla="*/ 418584 w 473674"/>
              <a:gd name="T9" fmla="*/ 69833 h 92621"/>
              <a:gd name="T10" fmla="*/ 51046 w 473674"/>
              <a:gd name="T11" fmla="*/ 79808 h 92621"/>
              <a:gd name="T12" fmla="*/ 0 w 473674"/>
              <a:gd name="T13" fmla="*/ 89783 h 9262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73674" h="92621">
                <a:moveTo>
                  <a:pt x="51371" y="10284"/>
                </a:moveTo>
                <a:cubicBezTo>
                  <a:pt x="102742" y="6859"/>
                  <a:pt x="153998" y="10"/>
                  <a:pt x="205483" y="10"/>
                </a:cubicBezTo>
                <a:cubicBezTo>
                  <a:pt x="406003" y="10"/>
                  <a:pt x="283065" y="-1143"/>
                  <a:pt x="369870" y="20558"/>
                </a:cubicBezTo>
                <a:lnTo>
                  <a:pt x="452063" y="41107"/>
                </a:lnTo>
                <a:cubicBezTo>
                  <a:pt x="480092" y="69134"/>
                  <a:pt x="490887" y="68532"/>
                  <a:pt x="421241" y="71929"/>
                </a:cubicBezTo>
                <a:cubicBezTo>
                  <a:pt x="298050" y="77938"/>
                  <a:pt x="174661" y="78778"/>
                  <a:pt x="51371" y="82203"/>
                </a:cubicBezTo>
                <a:cubicBezTo>
                  <a:pt x="14051" y="94643"/>
                  <a:pt x="31379" y="92477"/>
                  <a:pt x="0" y="92477"/>
                </a:cubicBezTo>
              </a:path>
            </a:pathLst>
          </a:custGeom>
          <a:noFill/>
          <a:ln w="9525" cap="flat" cmpd="sng" algn="ctr">
            <a:solidFill>
              <a:srgbClr val="CC66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685800">
              <a:defRPr/>
            </a:pPr>
            <a:endParaRPr lang="en-US" sz="1800">
              <a:solidFill>
                <a:srgbClr val="000000"/>
              </a:solidFill>
              <a:latin typeface="Symbol" pitchFamily="18" charset="2"/>
            </a:endParaRPr>
          </a:p>
        </p:txBody>
      </p:sp>
      <p:sp>
        <p:nvSpPr>
          <p:cNvPr id="12" name="Freihandform 43"/>
          <p:cNvSpPr>
            <a:spLocks/>
          </p:cNvSpPr>
          <p:nvPr/>
        </p:nvSpPr>
        <p:spPr bwMode="auto">
          <a:xfrm>
            <a:off x="1045479" y="3245644"/>
            <a:ext cx="2566988" cy="556022"/>
          </a:xfrm>
          <a:custGeom>
            <a:avLst/>
            <a:gdLst>
              <a:gd name="T0" fmla="*/ 82221 w 3422366"/>
              <a:gd name="T1" fmla="*/ 30823 h 741371"/>
              <a:gd name="T2" fmla="*/ 483045 w 3422366"/>
              <a:gd name="T3" fmla="*/ 0 h 741371"/>
              <a:gd name="T4" fmla="*/ 678318 w 3422366"/>
              <a:gd name="T5" fmla="*/ 20549 h 741371"/>
              <a:gd name="T6" fmla="*/ 894148 w 3422366"/>
              <a:gd name="T7" fmla="*/ 30823 h 741371"/>
              <a:gd name="T8" fmla="*/ 1027756 w 3422366"/>
              <a:gd name="T9" fmla="*/ 10274 h 741371"/>
              <a:gd name="T10" fmla="*/ 1181920 w 3422366"/>
              <a:gd name="T11" fmla="*/ 51367 h 741371"/>
              <a:gd name="T12" fmla="*/ 1366915 w 3422366"/>
              <a:gd name="T13" fmla="*/ 61641 h 741371"/>
              <a:gd name="T14" fmla="*/ 1469693 w 3422366"/>
              <a:gd name="T15" fmla="*/ 143830 h 741371"/>
              <a:gd name="T16" fmla="*/ 1449136 w 3422366"/>
              <a:gd name="T17" fmla="*/ 226020 h 741371"/>
              <a:gd name="T18" fmla="*/ 1397749 w 3422366"/>
              <a:gd name="T19" fmla="*/ 256842 h 741371"/>
              <a:gd name="T20" fmla="*/ 1161364 w 3422366"/>
              <a:gd name="T21" fmla="*/ 267116 h 741371"/>
              <a:gd name="T22" fmla="*/ 1058590 w 3422366"/>
              <a:gd name="T23" fmla="*/ 277391 h 741371"/>
              <a:gd name="T24" fmla="*/ 1140812 w 3422366"/>
              <a:gd name="T25" fmla="*/ 369854 h 741371"/>
              <a:gd name="T26" fmla="*/ 1346363 w 3422366"/>
              <a:gd name="T27" fmla="*/ 349306 h 741371"/>
              <a:gd name="T28" fmla="*/ 1613579 w 3422366"/>
              <a:gd name="T29" fmla="*/ 369854 h 741371"/>
              <a:gd name="T30" fmla="*/ 1377193 w 3422366"/>
              <a:gd name="T31" fmla="*/ 565051 h 741371"/>
              <a:gd name="T32" fmla="*/ 1171642 w 3422366"/>
              <a:gd name="T33" fmla="*/ 595873 h 741371"/>
              <a:gd name="T34" fmla="*/ 1192198 w 3422366"/>
              <a:gd name="T35" fmla="*/ 647240 h 741371"/>
              <a:gd name="T36" fmla="*/ 1356641 w 3422366"/>
              <a:gd name="T37" fmla="*/ 688337 h 741371"/>
              <a:gd name="T38" fmla="*/ 1613579 w 3422366"/>
              <a:gd name="T39" fmla="*/ 719155 h 741371"/>
              <a:gd name="T40" fmla="*/ 2004125 w 3422366"/>
              <a:gd name="T41" fmla="*/ 729429 h 741371"/>
              <a:gd name="T42" fmla="*/ 1973294 w 3422366"/>
              <a:gd name="T43" fmla="*/ 554777 h 741371"/>
              <a:gd name="T44" fmla="*/ 1860239 w 3422366"/>
              <a:gd name="T45" fmla="*/ 523958 h 741371"/>
              <a:gd name="T46" fmla="*/ 1747187 w 3422366"/>
              <a:gd name="T47" fmla="*/ 503410 h 741371"/>
              <a:gd name="T48" fmla="*/ 1736909 w 3422366"/>
              <a:gd name="T49" fmla="*/ 390398 h 741371"/>
              <a:gd name="T50" fmla="*/ 1860239 w 3422366"/>
              <a:gd name="T51" fmla="*/ 369854 h 741371"/>
              <a:gd name="T52" fmla="*/ 1952738 w 3422366"/>
              <a:gd name="T53" fmla="*/ 400672 h 741371"/>
              <a:gd name="T54" fmla="*/ 2086346 w 3422366"/>
              <a:gd name="T55" fmla="*/ 400672 h 741371"/>
              <a:gd name="T56" fmla="*/ 2219954 w 3422366"/>
              <a:gd name="T57" fmla="*/ 359580 h 741371"/>
              <a:gd name="T58" fmla="*/ 2178845 w 3422366"/>
              <a:gd name="T59" fmla="*/ 318483 h 741371"/>
              <a:gd name="T60" fmla="*/ 2024681 w 3422366"/>
              <a:gd name="T61" fmla="*/ 267116 h 741371"/>
              <a:gd name="T62" fmla="*/ 1963016 w 3422366"/>
              <a:gd name="T63" fmla="*/ 236294 h 741371"/>
              <a:gd name="T64" fmla="*/ 1778020 w 3422366"/>
              <a:gd name="T65" fmla="*/ 174653 h 741371"/>
              <a:gd name="T66" fmla="*/ 2076068 w 3422366"/>
              <a:gd name="T67" fmla="*/ 82190 h 741371"/>
              <a:gd name="T68" fmla="*/ 2435783 w 3422366"/>
              <a:gd name="T69" fmla="*/ 51367 h 741371"/>
              <a:gd name="T70" fmla="*/ 2528283 w 3422366"/>
              <a:gd name="T71" fmla="*/ 71915 h 741371"/>
              <a:gd name="T72" fmla="*/ 2908551 w 3422366"/>
              <a:gd name="T73" fmla="*/ 71915 h 741371"/>
              <a:gd name="T74" fmla="*/ 3196323 w 3422366"/>
              <a:gd name="T75" fmla="*/ 92464 h 741371"/>
              <a:gd name="T76" fmla="*/ 3247710 w 3422366"/>
              <a:gd name="T77" fmla="*/ 123286 h 741371"/>
              <a:gd name="T78" fmla="*/ 3278544 w 3422366"/>
              <a:gd name="T79" fmla="*/ 236294 h 741371"/>
              <a:gd name="T80" fmla="*/ 3196323 w 3422366"/>
              <a:gd name="T81" fmla="*/ 297935 h 741371"/>
              <a:gd name="T82" fmla="*/ 3062715 w 3422366"/>
              <a:gd name="T83" fmla="*/ 267116 h 741371"/>
              <a:gd name="T84" fmla="*/ 2918829 w 3422366"/>
              <a:gd name="T85" fmla="*/ 308209 h 741371"/>
              <a:gd name="T86" fmla="*/ 3103827 w 3422366"/>
              <a:gd name="T87" fmla="*/ 359580 h 741371"/>
              <a:gd name="T88" fmla="*/ 3268266 w 3422366"/>
              <a:gd name="T89" fmla="*/ 369854 h 741371"/>
              <a:gd name="T90" fmla="*/ 3329931 w 3422366"/>
              <a:gd name="T91" fmla="*/ 441769 h 741371"/>
              <a:gd name="T92" fmla="*/ 3268266 w 3422366"/>
              <a:gd name="T93" fmla="*/ 565051 h 741371"/>
              <a:gd name="T94" fmla="*/ 2990772 w 3422366"/>
              <a:gd name="T95" fmla="*/ 575325 h 741371"/>
              <a:gd name="T96" fmla="*/ 3011328 w 3422366"/>
              <a:gd name="T97" fmla="*/ 698611 h 741371"/>
              <a:gd name="T98" fmla="*/ 3103827 w 3422366"/>
              <a:gd name="T99" fmla="*/ 729429 h 741371"/>
              <a:gd name="T100" fmla="*/ 3186045 w 3422366"/>
              <a:gd name="T101" fmla="*/ 729429 h 741371"/>
              <a:gd name="T102" fmla="*/ 3309379 w 3422366"/>
              <a:gd name="T103" fmla="*/ 729429 h 741371"/>
              <a:gd name="T104" fmla="*/ 3412152 w 3422366"/>
              <a:gd name="T105" fmla="*/ 719155 h 74137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3422366" h="741371">
                <a:moveTo>
                  <a:pt x="0" y="61645"/>
                </a:moveTo>
                <a:cubicBezTo>
                  <a:pt x="15709" y="55361"/>
                  <a:pt x="60720" y="36191"/>
                  <a:pt x="82193" y="30823"/>
                </a:cubicBezTo>
                <a:cubicBezTo>
                  <a:pt x="190933" y="3638"/>
                  <a:pt x="292907" y="14647"/>
                  <a:pt x="410966" y="10274"/>
                </a:cubicBezTo>
                <a:cubicBezTo>
                  <a:pt x="434939" y="6849"/>
                  <a:pt x="458669" y="0"/>
                  <a:pt x="482885" y="0"/>
                </a:cubicBezTo>
                <a:cubicBezTo>
                  <a:pt x="527538" y="0"/>
                  <a:pt x="572042" y="5599"/>
                  <a:pt x="616450" y="10274"/>
                </a:cubicBezTo>
                <a:cubicBezTo>
                  <a:pt x="637167" y="12455"/>
                  <a:pt x="657599" y="16822"/>
                  <a:pt x="678094" y="20549"/>
                </a:cubicBezTo>
                <a:cubicBezTo>
                  <a:pt x="732650" y="30469"/>
                  <a:pt x="717509" y="26838"/>
                  <a:pt x="760288" y="41097"/>
                </a:cubicBezTo>
                <a:cubicBezTo>
                  <a:pt x="804809" y="37672"/>
                  <a:pt x="849544" y="36361"/>
                  <a:pt x="893852" y="30823"/>
                </a:cubicBezTo>
                <a:cubicBezTo>
                  <a:pt x="904598" y="29480"/>
                  <a:pt x="913970" y="22196"/>
                  <a:pt x="924674" y="20549"/>
                </a:cubicBezTo>
                <a:cubicBezTo>
                  <a:pt x="958692" y="15315"/>
                  <a:pt x="993169" y="13699"/>
                  <a:pt x="1027416" y="10274"/>
                </a:cubicBezTo>
                <a:cubicBezTo>
                  <a:pt x="1110425" y="24110"/>
                  <a:pt x="1069299" y="13962"/>
                  <a:pt x="1150706" y="41097"/>
                </a:cubicBezTo>
                <a:lnTo>
                  <a:pt x="1181528" y="51371"/>
                </a:lnTo>
                <a:lnTo>
                  <a:pt x="1212351" y="61645"/>
                </a:lnTo>
                <a:cubicBezTo>
                  <a:pt x="1277156" y="48684"/>
                  <a:pt x="1286386" y="41625"/>
                  <a:pt x="1366463" y="61645"/>
                </a:cubicBezTo>
                <a:cubicBezTo>
                  <a:pt x="1375860" y="63994"/>
                  <a:pt x="1379262" y="76382"/>
                  <a:pt x="1387011" y="82194"/>
                </a:cubicBezTo>
                <a:cubicBezTo>
                  <a:pt x="1479959" y="151906"/>
                  <a:pt x="1422076" y="96711"/>
                  <a:pt x="1469205" y="143838"/>
                </a:cubicBezTo>
                <a:cubicBezTo>
                  <a:pt x="1472630" y="154112"/>
                  <a:pt x="1479479" y="163831"/>
                  <a:pt x="1479479" y="174661"/>
                </a:cubicBezTo>
                <a:cubicBezTo>
                  <a:pt x="1479479" y="194057"/>
                  <a:pt x="1464933" y="216266"/>
                  <a:pt x="1448656" y="226032"/>
                </a:cubicBezTo>
                <a:cubicBezTo>
                  <a:pt x="1439370" y="231604"/>
                  <a:pt x="1428108" y="232881"/>
                  <a:pt x="1417834" y="236306"/>
                </a:cubicBezTo>
                <a:cubicBezTo>
                  <a:pt x="1410984" y="243155"/>
                  <a:pt x="1405591" y="251870"/>
                  <a:pt x="1397285" y="256854"/>
                </a:cubicBezTo>
                <a:cubicBezTo>
                  <a:pt x="1386758" y="263170"/>
                  <a:pt x="1333040" y="275484"/>
                  <a:pt x="1325366" y="277403"/>
                </a:cubicBezTo>
                <a:lnTo>
                  <a:pt x="1160980" y="267128"/>
                </a:lnTo>
                <a:cubicBezTo>
                  <a:pt x="1119846" y="264190"/>
                  <a:pt x="1078724" y="252750"/>
                  <a:pt x="1037690" y="256854"/>
                </a:cubicBezTo>
                <a:cubicBezTo>
                  <a:pt x="1028051" y="257818"/>
                  <a:pt x="1051389" y="270553"/>
                  <a:pt x="1058238" y="277403"/>
                </a:cubicBezTo>
                <a:cubicBezTo>
                  <a:pt x="1061663" y="291102"/>
                  <a:pt x="1061028" y="306525"/>
                  <a:pt x="1068512" y="318499"/>
                </a:cubicBezTo>
                <a:cubicBezTo>
                  <a:pt x="1094173" y="359556"/>
                  <a:pt x="1104140" y="357773"/>
                  <a:pt x="1140432" y="369870"/>
                </a:cubicBezTo>
                <a:cubicBezTo>
                  <a:pt x="1195227" y="366445"/>
                  <a:pt x="1250188" y="365059"/>
                  <a:pt x="1304818" y="359596"/>
                </a:cubicBezTo>
                <a:cubicBezTo>
                  <a:pt x="1318869" y="358191"/>
                  <a:pt x="1331794" y="349322"/>
                  <a:pt x="1345915" y="349322"/>
                </a:cubicBezTo>
                <a:cubicBezTo>
                  <a:pt x="1424758" y="349322"/>
                  <a:pt x="1503452" y="356171"/>
                  <a:pt x="1582220" y="359596"/>
                </a:cubicBezTo>
                <a:cubicBezTo>
                  <a:pt x="1592494" y="363021"/>
                  <a:pt x="1611106" y="359215"/>
                  <a:pt x="1613043" y="369870"/>
                </a:cubicBezTo>
                <a:cubicBezTo>
                  <a:pt x="1620978" y="413509"/>
                  <a:pt x="1607033" y="504014"/>
                  <a:pt x="1561672" y="534256"/>
                </a:cubicBezTo>
                <a:cubicBezTo>
                  <a:pt x="1488013" y="583365"/>
                  <a:pt x="1543171" y="553984"/>
                  <a:pt x="1376737" y="565079"/>
                </a:cubicBezTo>
                <a:cubicBezTo>
                  <a:pt x="1366463" y="568504"/>
                  <a:pt x="1356671" y="574088"/>
                  <a:pt x="1345915" y="575353"/>
                </a:cubicBezTo>
                <a:cubicBezTo>
                  <a:pt x="1158137" y="597444"/>
                  <a:pt x="1255143" y="567938"/>
                  <a:pt x="1171254" y="595901"/>
                </a:cubicBezTo>
                <a:cubicBezTo>
                  <a:pt x="1167829" y="606175"/>
                  <a:pt x="1156958" y="616669"/>
                  <a:pt x="1160980" y="626724"/>
                </a:cubicBezTo>
                <a:cubicBezTo>
                  <a:pt x="1165566" y="638189"/>
                  <a:pt x="1182160" y="639558"/>
                  <a:pt x="1191802" y="647272"/>
                </a:cubicBezTo>
                <a:cubicBezTo>
                  <a:pt x="1199366" y="653323"/>
                  <a:pt x="1204045" y="662837"/>
                  <a:pt x="1212351" y="667821"/>
                </a:cubicBezTo>
                <a:cubicBezTo>
                  <a:pt x="1244116" y="686880"/>
                  <a:pt x="1354440" y="688210"/>
                  <a:pt x="1356189" y="688369"/>
                </a:cubicBezTo>
                <a:cubicBezTo>
                  <a:pt x="1446130" y="710854"/>
                  <a:pt x="1365734" y="693192"/>
                  <a:pt x="1530850" y="708917"/>
                </a:cubicBezTo>
                <a:cubicBezTo>
                  <a:pt x="1558337" y="711535"/>
                  <a:pt x="1585645" y="715766"/>
                  <a:pt x="1613043" y="719191"/>
                </a:cubicBezTo>
                <a:cubicBezTo>
                  <a:pt x="1623317" y="722616"/>
                  <a:pt x="1633109" y="728200"/>
                  <a:pt x="1643865" y="729465"/>
                </a:cubicBezTo>
                <a:cubicBezTo>
                  <a:pt x="1799215" y="747742"/>
                  <a:pt x="1830020" y="737725"/>
                  <a:pt x="2003461" y="729465"/>
                </a:cubicBezTo>
                <a:cubicBezTo>
                  <a:pt x="2066504" y="687436"/>
                  <a:pt x="2067711" y="700019"/>
                  <a:pt x="2013735" y="565079"/>
                </a:cubicBezTo>
                <a:cubicBezTo>
                  <a:pt x="2008491" y="551968"/>
                  <a:pt x="1986422" y="557868"/>
                  <a:pt x="1972638" y="554805"/>
                </a:cubicBezTo>
                <a:cubicBezTo>
                  <a:pt x="1955591" y="551017"/>
                  <a:pt x="1938114" y="549126"/>
                  <a:pt x="1921267" y="544531"/>
                </a:cubicBezTo>
                <a:cubicBezTo>
                  <a:pt x="1900371" y="538832"/>
                  <a:pt x="1880171" y="530831"/>
                  <a:pt x="1859623" y="523982"/>
                </a:cubicBezTo>
                <a:cubicBezTo>
                  <a:pt x="1849349" y="520557"/>
                  <a:pt x="1839546" y="515051"/>
                  <a:pt x="1828800" y="513708"/>
                </a:cubicBezTo>
                <a:lnTo>
                  <a:pt x="1746607" y="503434"/>
                </a:lnTo>
                <a:cubicBezTo>
                  <a:pt x="1687578" y="444405"/>
                  <a:pt x="1702894" y="475037"/>
                  <a:pt x="1684962" y="421241"/>
                </a:cubicBezTo>
                <a:cubicBezTo>
                  <a:pt x="1725096" y="381105"/>
                  <a:pt x="1682984" y="417092"/>
                  <a:pt x="1736333" y="390418"/>
                </a:cubicBezTo>
                <a:cubicBezTo>
                  <a:pt x="1816001" y="350585"/>
                  <a:pt x="1720503" y="385420"/>
                  <a:pt x="1797978" y="359596"/>
                </a:cubicBezTo>
                <a:cubicBezTo>
                  <a:pt x="1818526" y="363021"/>
                  <a:pt x="1839413" y="364818"/>
                  <a:pt x="1859623" y="369870"/>
                </a:cubicBezTo>
                <a:cubicBezTo>
                  <a:pt x="1880636" y="375123"/>
                  <a:pt x="1900719" y="383569"/>
                  <a:pt x="1921267" y="390418"/>
                </a:cubicBezTo>
                <a:cubicBezTo>
                  <a:pt x="1931541" y="393843"/>
                  <a:pt x="1941407" y="398911"/>
                  <a:pt x="1952090" y="400692"/>
                </a:cubicBezTo>
                <a:lnTo>
                  <a:pt x="2013735" y="410967"/>
                </a:lnTo>
                <a:cubicBezTo>
                  <a:pt x="2037708" y="407542"/>
                  <a:pt x="2062058" y="406137"/>
                  <a:pt x="2085654" y="400692"/>
                </a:cubicBezTo>
                <a:cubicBezTo>
                  <a:pt x="2106759" y="395822"/>
                  <a:pt x="2126751" y="386993"/>
                  <a:pt x="2147299" y="380144"/>
                </a:cubicBezTo>
                <a:cubicBezTo>
                  <a:pt x="2191519" y="365404"/>
                  <a:pt x="2167612" y="372497"/>
                  <a:pt x="2219218" y="359596"/>
                </a:cubicBezTo>
                <a:cubicBezTo>
                  <a:pt x="2215793" y="349322"/>
                  <a:pt x="2216602" y="336431"/>
                  <a:pt x="2208944" y="328773"/>
                </a:cubicBezTo>
                <a:cubicBezTo>
                  <a:pt x="2201286" y="321115"/>
                  <a:pt x="2188693" y="320848"/>
                  <a:pt x="2178121" y="318499"/>
                </a:cubicBezTo>
                <a:cubicBezTo>
                  <a:pt x="2157785" y="313980"/>
                  <a:pt x="2137024" y="311650"/>
                  <a:pt x="2116476" y="308225"/>
                </a:cubicBezTo>
                <a:cubicBezTo>
                  <a:pt x="1957444" y="255214"/>
                  <a:pt x="2121697" y="315973"/>
                  <a:pt x="2024009" y="267128"/>
                </a:cubicBezTo>
                <a:cubicBezTo>
                  <a:pt x="2014323" y="262285"/>
                  <a:pt x="2002873" y="261697"/>
                  <a:pt x="1993187" y="256854"/>
                </a:cubicBezTo>
                <a:cubicBezTo>
                  <a:pt x="1982142" y="251332"/>
                  <a:pt x="1973648" y="241321"/>
                  <a:pt x="1962364" y="236306"/>
                </a:cubicBezTo>
                <a:cubicBezTo>
                  <a:pt x="1908922" y="212554"/>
                  <a:pt x="1887305" y="213842"/>
                  <a:pt x="1828800" y="205483"/>
                </a:cubicBezTo>
                <a:cubicBezTo>
                  <a:pt x="1807711" y="198453"/>
                  <a:pt x="1788711" y="197225"/>
                  <a:pt x="1777429" y="174661"/>
                </a:cubicBezTo>
                <a:cubicBezTo>
                  <a:pt x="1767742" y="155288"/>
                  <a:pt x="1756881" y="113016"/>
                  <a:pt x="1756881" y="113016"/>
                </a:cubicBezTo>
                <a:cubicBezTo>
                  <a:pt x="1868605" y="38533"/>
                  <a:pt x="1767096" y="98420"/>
                  <a:pt x="2075380" y="82194"/>
                </a:cubicBezTo>
                <a:cubicBezTo>
                  <a:pt x="2135614" y="79024"/>
                  <a:pt x="2190912" y="70092"/>
                  <a:pt x="2250041" y="61645"/>
                </a:cubicBezTo>
                <a:cubicBezTo>
                  <a:pt x="2350808" y="28056"/>
                  <a:pt x="2290100" y="39298"/>
                  <a:pt x="2434975" y="51371"/>
                </a:cubicBezTo>
                <a:cubicBezTo>
                  <a:pt x="2452099" y="54796"/>
                  <a:pt x="2469299" y="57857"/>
                  <a:pt x="2486346" y="61645"/>
                </a:cubicBezTo>
                <a:cubicBezTo>
                  <a:pt x="2500130" y="64708"/>
                  <a:pt x="2513322" y="71919"/>
                  <a:pt x="2527443" y="71919"/>
                </a:cubicBezTo>
                <a:cubicBezTo>
                  <a:pt x="2578928" y="71919"/>
                  <a:pt x="2630184" y="65070"/>
                  <a:pt x="2681555" y="61645"/>
                </a:cubicBezTo>
                <a:cubicBezTo>
                  <a:pt x="2756899" y="65070"/>
                  <a:pt x="2832387" y="66134"/>
                  <a:pt x="2907587" y="71919"/>
                </a:cubicBezTo>
                <a:cubicBezTo>
                  <a:pt x="2921666" y="73002"/>
                  <a:pt x="2934599" y="81188"/>
                  <a:pt x="2948683" y="82194"/>
                </a:cubicBezTo>
                <a:cubicBezTo>
                  <a:pt x="3030739" y="88055"/>
                  <a:pt x="3113070" y="89043"/>
                  <a:pt x="3195263" y="92468"/>
                </a:cubicBezTo>
                <a:cubicBezTo>
                  <a:pt x="3205537" y="95893"/>
                  <a:pt x="3216799" y="97170"/>
                  <a:pt x="3226085" y="102742"/>
                </a:cubicBezTo>
                <a:cubicBezTo>
                  <a:pt x="3234391" y="107726"/>
                  <a:pt x="3240822" y="115541"/>
                  <a:pt x="3246634" y="123290"/>
                </a:cubicBezTo>
                <a:cubicBezTo>
                  <a:pt x="3289026" y="179812"/>
                  <a:pt x="3281986" y="167705"/>
                  <a:pt x="3298005" y="215758"/>
                </a:cubicBezTo>
                <a:cubicBezTo>
                  <a:pt x="3291155" y="222607"/>
                  <a:pt x="3285020" y="230255"/>
                  <a:pt x="3277456" y="236306"/>
                </a:cubicBezTo>
                <a:cubicBezTo>
                  <a:pt x="3267814" y="244020"/>
                  <a:pt x="3254348" y="247212"/>
                  <a:pt x="3246634" y="256854"/>
                </a:cubicBezTo>
                <a:cubicBezTo>
                  <a:pt x="3206101" y="307521"/>
                  <a:pt x="3280498" y="276643"/>
                  <a:pt x="3195263" y="297951"/>
                </a:cubicBezTo>
                <a:cubicBezTo>
                  <a:pt x="3174715" y="294526"/>
                  <a:pt x="3154045" y="291762"/>
                  <a:pt x="3133618" y="287677"/>
                </a:cubicBezTo>
                <a:cubicBezTo>
                  <a:pt x="3101360" y="281225"/>
                  <a:pt x="3091080" y="276923"/>
                  <a:pt x="3061699" y="267128"/>
                </a:cubicBezTo>
                <a:cubicBezTo>
                  <a:pt x="3045038" y="269508"/>
                  <a:pt x="2972902" y="277298"/>
                  <a:pt x="2948683" y="287677"/>
                </a:cubicBezTo>
                <a:cubicBezTo>
                  <a:pt x="2937334" y="292541"/>
                  <a:pt x="2928135" y="301376"/>
                  <a:pt x="2917861" y="308225"/>
                </a:cubicBezTo>
                <a:cubicBezTo>
                  <a:pt x="3000536" y="349563"/>
                  <a:pt x="2913323" y="311655"/>
                  <a:pt x="3041151" y="339047"/>
                </a:cubicBezTo>
                <a:cubicBezTo>
                  <a:pt x="3062330" y="343585"/>
                  <a:pt x="3102796" y="359596"/>
                  <a:pt x="3102796" y="359596"/>
                </a:cubicBezTo>
                <a:cubicBezTo>
                  <a:pt x="3113070" y="356171"/>
                  <a:pt x="3122788" y="349322"/>
                  <a:pt x="3133618" y="349322"/>
                </a:cubicBezTo>
                <a:cubicBezTo>
                  <a:pt x="3146838" y="349322"/>
                  <a:pt x="3249885" y="366987"/>
                  <a:pt x="3267182" y="369870"/>
                </a:cubicBezTo>
                <a:cubicBezTo>
                  <a:pt x="3281184" y="379205"/>
                  <a:pt x="3308792" y="394698"/>
                  <a:pt x="3318553" y="410967"/>
                </a:cubicBezTo>
                <a:cubicBezTo>
                  <a:pt x="3324125" y="420253"/>
                  <a:pt x="3325402" y="431515"/>
                  <a:pt x="3328827" y="441789"/>
                </a:cubicBezTo>
                <a:cubicBezTo>
                  <a:pt x="3325402" y="479461"/>
                  <a:pt x="3335470" y="520971"/>
                  <a:pt x="3318553" y="554805"/>
                </a:cubicBezTo>
                <a:cubicBezTo>
                  <a:pt x="3310743" y="570424"/>
                  <a:pt x="3284229" y="561291"/>
                  <a:pt x="3267182" y="565079"/>
                </a:cubicBezTo>
                <a:cubicBezTo>
                  <a:pt x="3228478" y="573680"/>
                  <a:pt x="3229588" y="574185"/>
                  <a:pt x="3195263" y="585627"/>
                </a:cubicBezTo>
                <a:cubicBezTo>
                  <a:pt x="3126769" y="582202"/>
                  <a:pt x="3058078" y="569144"/>
                  <a:pt x="2989780" y="575353"/>
                </a:cubicBezTo>
                <a:cubicBezTo>
                  <a:pt x="2977483" y="576471"/>
                  <a:pt x="2969232" y="593828"/>
                  <a:pt x="2969232" y="606176"/>
                </a:cubicBezTo>
                <a:cubicBezTo>
                  <a:pt x="2969232" y="614272"/>
                  <a:pt x="2991705" y="687004"/>
                  <a:pt x="3010328" y="698643"/>
                </a:cubicBezTo>
                <a:cubicBezTo>
                  <a:pt x="3028696" y="710123"/>
                  <a:pt x="3051425" y="712342"/>
                  <a:pt x="3071973" y="719191"/>
                </a:cubicBezTo>
                <a:lnTo>
                  <a:pt x="3102796" y="729465"/>
                </a:lnTo>
                <a:lnTo>
                  <a:pt x="3133618" y="739740"/>
                </a:lnTo>
                <a:cubicBezTo>
                  <a:pt x="3150742" y="736315"/>
                  <a:pt x="3168048" y="733701"/>
                  <a:pt x="3184989" y="729465"/>
                </a:cubicBezTo>
                <a:cubicBezTo>
                  <a:pt x="3195495" y="726838"/>
                  <a:pt x="3204981" y="719191"/>
                  <a:pt x="3215811" y="719191"/>
                </a:cubicBezTo>
                <a:cubicBezTo>
                  <a:pt x="3246823" y="719191"/>
                  <a:pt x="3277456" y="726040"/>
                  <a:pt x="3308279" y="729465"/>
                </a:cubicBezTo>
                <a:cubicBezTo>
                  <a:pt x="3356515" y="741525"/>
                  <a:pt x="3363443" y="748749"/>
                  <a:pt x="3421294" y="729465"/>
                </a:cubicBezTo>
                <a:cubicBezTo>
                  <a:pt x="3425889" y="727933"/>
                  <a:pt x="3414445" y="722616"/>
                  <a:pt x="3411020" y="719191"/>
                </a:cubicBezTo>
              </a:path>
            </a:pathLst>
          </a:custGeom>
          <a:noFill/>
          <a:ln w="9525" cap="flat" cmpd="sng" algn="ctr">
            <a:solidFill>
              <a:srgbClr val="CC66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685800">
              <a:defRPr/>
            </a:pPr>
            <a:endParaRPr lang="en-US" sz="1800">
              <a:solidFill>
                <a:srgbClr val="000000"/>
              </a:solidFill>
              <a:latin typeface="Symbol" pitchFamily="18" charset="2"/>
            </a:endParaRPr>
          </a:p>
        </p:txBody>
      </p:sp>
      <p:cxnSp>
        <p:nvCxnSpPr>
          <p:cNvPr id="13" name="Gerade Verbindung 50"/>
          <p:cNvCxnSpPr>
            <a:cxnSpLocks noChangeShapeType="1"/>
          </p:cNvCxnSpPr>
          <p:nvPr/>
        </p:nvCxnSpPr>
        <p:spPr bwMode="auto">
          <a:xfrm>
            <a:off x="1007379" y="2725341"/>
            <a:ext cx="2905125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4" name="Objekt 53"/>
          <p:cNvGraphicFramePr>
            <a:graphicFrameLocks noChangeAspect="1"/>
          </p:cNvGraphicFramePr>
          <p:nvPr/>
        </p:nvGraphicFramePr>
        <p:xfrm>
          <a:off x="3977748" y="3715756"/>
          <a:ext cx="508397" cy="2262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3" imgW="508000" imgH="228600" progId="Equation.3">
                  <p:embed/>
                </p:oleObj>
              </mc:Choice>
              <mc:Fallback>
                <p:oleObj name="Formel" r:id="rId3" imgW="508000" imgH="228600" progId="Equation.3">
                  <p:embed/>
                  <p:pic>
                    <p:nvPicPr>
                      <p:cNvPr id="14" name="Objekt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77748" y="3715756"/>
                        <a:ext cx="508397" cy="2262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54"/>
          <p:cNvGraphicFramePr>
            <a:graphicFrameLocks noChangeAspect="1"/>
          </p:cNvGraphicFramePr>
          <p:nvPr/>
        </p:nvGraphicFramePr>
        <p:xfrm>
          <a:off x="3964891" y="3337714"/>
          <a:ext cx="1281113" cy="3893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5" imgW="1282700" imgH="393700" progId="Equation.3">
                  <p:embed/>
                </p:oleObj>
              </mc:Choice>
              <mc:Fallback>
                <p:oleObj name="Formel" r:id="rId5" imgW="1282700" imgH="393700" progId="Equation.3">
                  <p:embed/>
                  <p:pic>
                    <p:nvPicPr>
                      <p:cNvPr id="15" name="Objekt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64891" y="3337714"/>
                        <a:ext cx="1281113" cy="3893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55"/>
          <p:cNvGraphicFramePr>
            <a:graphicFrameLocks noChangeAspect="1"/>
          </p:cNvGraphicFramePr>
          <p:nvPr/>
        </p:nvGraphicFramePr>
        <p:xfrm>
          <a:off x="3977989" y="3067683"/>
          <a:ext cx="1318022" cy="238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7" imgW="1320227" imgH="241195" progId="Equation.3">
                  <p:embed/>
                </p:oleObj>
              </mc:Choice>
              <mc:Fallback>
                <p:oleObj name="Formel" r:id="rId7" imgW="1320227" imgH="241195" progId="Equation.3">
                  <p:embed/>
                  <p:pic>
                    <p:nvPicPr>
                      <p:cNvPr id="16" name="Objekt 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77989" y="3067683"/>
                        <a:ext cx="1318022" cy="238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Gerade Verbindung 58"/>
          <p:cNvCxnSpPr>
            <a:cxnSpLocks noChangeShapeType="1"/>
          </p:cNvCxnSpPr>
          <p:nvPr/>
        </p:nvCxnSpPr>
        <p:spPr bwMode="auto">
          <a:xfrm>
            <a:off x="3667236" y="3553737"/>
            <a:ext cx="245269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rade Verbindung 59"/>
          <p:cNvCxnSpPr>
            <a:cxnSpLocks noChangeShapeType="1"/>
          </p:cNvCxnSpPr>
          <p:nvPr/>
        </p:nvCxnSpPr>
        <p:spPr bwMode="auto">
          <a:xfrm>
            <a:off x="3695811" y="3792141"/>
            <a:ext cx="245269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9" name="Objekt 64"/>
          <p:cNvGraphicFramePr>
            <a:graphicFrameLocks noChangeAspect="1"/>
          </p:cNvGraphicFramePr>
          <p:nvPr/>
        </p:nvGraphicFramePr>
        <p:xfrm>
          <a:off x="5459126" y="3327834"/>
          <a:ext cx="165497" cy="2250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9" imgW="165028" imgH="228501" progId="Equation.3">
                  <p:embed/>
                </p:oleObj>
              </mc:Choice>
              <mc:Fallback>
                <p:oleObj name="Formel" r:id="rId9" imgW="165028" imgH="228501" progId="Equation.3">
                  <p:embed/>
                  <p:pic>
                    <p:nvPicPr>
                      <p:cNvPr id="19" name="Objekt 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59126" y="3327834"/>
                        <a:ext cx="165497" cy="225028"/>
                      </a:xfrm>
                      <a:prstGeom prst="rect">
                        <a:avLst/>
                      </a:prstGeom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Geschweifte Klammer rechts 67"/>
          <p:cNvSpPr>
            <a:spLocks/>
          </p:cNvSpPr>
          <p:nvPr/>
        </p:nvSpPr>
        <p:spPr bwMode="auto">
          <a:xfrm>
            <a:off x="5297200" y="3063873"/>
            <a:ext cx="131918" cy="643251"/>
          </a:xfrm>
          <a:prstGeom prst="rightBrace">
            <a:avLst>
              <a:gd name="adj1" fmla="val 8401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685800">
              <a:spcBef>
                <a:spcPct val="0"/>
              </a:spcBef>
              <a:buNone/>
              <a:defRPr/>
            </a:pPr>
            <a:endParaRPr lang="en-US" altLang="en-US" sz="1800">
              <a:solidFill>
                <a:srgbClr val="000000"/>
              </a:solidFill>
              <a:latin typeface="Symbol" pitchFamily="18" charset="2"/>
            </a:endParaRPr>
          </a:p>
        </p:txBody>
      </p:sp>
      <p:sp>
        <p:nvSpPr>
          <p:cNvPr id="21" name="Geschweifte Klammer rechts 68"/>
          <p:cNvSpPr>
            <a:spLocks/>
          </p:cNvSpPr>
          <p:nvPr/>
        </p:nvSpPr>
        <p:spPr bwMode="auto">
          <a:xfrm>
            <a:off x="5611285" y="3277829"/>
            <a:ext cx="137163" cy="714338"/>
          </a:xfrm>
          <a:prstGeom prst="rightBrace">
            <a:avLst>
              <a:gd name="adj1" fmla="val 8310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685800">
              <a:spcBef>
                <a:spcPct val="0"/>
              </a:spcBef>
              <a:buNone/>
              <a:defRPr/>
            </a:pPr>
            <a:endParaRPr lang="en-US" altLang="en-US" sz="1800">
              <a:solidFill>
                <a:srgbClr val="000000"/>
              </a:solidFill>
              <a:latin typeface="Symbol" pitchFamily="18" charset="2"/>
            </a:endParaRPr>
          </a:p>
        </p:txBody>
      </p:sp>
      <p:graphicFrame>
        <p:nvGraphicFramePr>
          <p:cNvPr id="22" name="Objekt 70"/>
          <p:cNvGraphicFramePr>
            <a:graphicFrameLocks noChangeAspect="1"/>
          </p:cNvGraphicFramePr>
          <p:nvPr/>
        </p:nvGraphicFramePr>
        <p:xfrm>
          <a:off x="5865130" y="3543302"/>
          <a:ext cx="975122" cy="2250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11" imgW="977900" imgH="228600" progId="Equation.3">
                  <p:embed/>
                </p:oleObj>
              </mc:Choice>
              <mc:Fallback>
                <p:oleObj name="Formel" r:id="rId11" imgW="977900" imgH="228600" progId="Equation.3">
                  <p:embed/>
                  <p:pic>
                    <p:nvPicPr>
                      <p:cNvPr id="22" name="Objekt 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65130" y="3543302"/>
                        <a:ext cx="975122" cy="225028"/>
                      </a:xfrm>
                      <a:prstGeom prst="rect">
                        <a:avLst/>
                      </a:prstGeom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Gerade Verbindung mit Pfeil 72"/>
          <p:cNvCxnSpPr>
            <a:cxnSpLocks noChangeShapeType="1"/>
          </p:cNvCxnSpPr>
          <p:nvPr/>
        </p:nvCxnSpPr>
        <p:spPr bwMode="auto">
          <a:xfrm>
            <a:off x="1763426" y="3376614"/>
            <a:ext cx="0" cy="17740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 type="arrow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Freihandform 78"/>
          <p:cNvSpPr>
            <a:spLocks/>
          </p:cNvSpPr>
          <p:nvPr/>
        </p:nvSpPr>
        <p:spPr bwMode="auto">
          <a:xfrm>
            <a:off x="953801" y="3777853"/>
            <a:ext cx="2657475" cy="261938"/>
          </a:xfrm>
          <a:custGeom>
            <a:avLst/>
            <a:gdLst>
              <a:gd name="T0" fmla="*/ 92303 w 3544584"/>
              <a:gd name="T1" fmla="*/ 10330 h 349397"/>
              <a:gd name="T2" fmla="*/ 92303 w 3544584"/>
              <a:gd name="T3" fmla="*/ 10330 h 349397"/>
              <a:gd name="T4" fmla="*/ 61535 w 3544584"/>
              <a:gd name="T5" fmla="*/ 92349 h 349397"/>
              <a:gd name="T6" fmla="*/ 51276 w 3544584"/>
              <a:gd name="T7" fmla="*/ 123106 h 349397"/>
              <a:gd name="T8" fmla="*/ 61535 w 3544584"/>
              <a:gd name="T9" fmla="*/ 153863 h 349397"/>
              <a:gd name="T10" fmla="*/ 71789 w 3544584"/>
              <a:gd name="T11" fmla="*/ 246136 h 349397"/>
              <a:gd name="T12" fmla="*/ 102557 w 3544584"/>
              <a:gd name="T13" fmla="*/ 256390 h 349397"/>
              <a:gd name="T14" fmla="*/ 133324 w 3544584"/>
              <a:gd name="T15" fmla="*/ 276893 h 349397"/>
              <a:gd name="T16" fmla="*/ 205113 w 3544584"/>
              <a:gd name="T17" fmla="*/ 297402 h 349397"/>
              <a:gd name="T18" fmla="*/ 297411 w 3544584"/>
              <a:gd name="T19" fmla="*/ 328159 h 349397"/>
              <a:gd name="T20" fmla="*/ 430735 w 3544584"/>
              <a:gd name="T21" fmla="*/ 307652 h 349397"/>
              <a:gd name="T22" fmla="*/ 512778 w 3544584"/>
              <a:gd name="T23" fmla="*/ 317905 h 349397"/>
              <a:gd name="T24" fmla="*/ 574313 w 3544584"/>
              <a:gd name="T25" fmla="*/ 338410 h 349397"/>
              <a:gd name="T26" fmla="*/ 605078 w 3544584"/>
              <a:gd name="T27" fmla="*/ 348662 h 349397"/>
              <a:gd name="T28" fmla="*/ 789679 w 3544584"/>
              <a:gd name="T29" fmla="*/ 338410 h 349397"/>
              <a:gd name="T30" fmla="*/ 892234 w 3544584"/>
              <a:gd name="T31" fmla="*/ 317905 h 349397"/>
              <a:gd name="T32" fmla="*/ 1066578 w 3544584"/>
              <a:gd name="T33" fmla="*/ 297402 h 349397"/>
              <a:gd name="T34" fmla="*/ 1456291 w 3544584"/>
              <a:gd name="T35" fmla="*/ 307652 h 349397"/>
              <a:gd name="T36" fmla="*/ 1958812 w 3544584"/>
              <a:gd name="T37" fmla="*/ 317905 h 349397"/>
              <a:gd name="T38" fmla="*/ 2225457 w 3544584"/>
              <a:gd name="T39" fmla="*/ 328159 h 349397"/>
              <a:gd name="T40" fmla="*/ 3004880 w 3544584"/>
              <a:gd name="T41" fmla="*/ 348662 h 349397"/>
              <a:gd name="T42" fmla="*/ 3292036 w 3544584"/>
              <a:gd name="T43" fmla="*/ 338410 h 349397"/>
              <a:gd name="T44" fmla="*/ 3353569 w 3544584"/>
              <a:gd name="T45" fmla="*/ 307652 h 349397"/>
              <a:gd name="T46" fmla="*/ 3435614 w 3544584"/>
              <a:gd name="T47" fmla="*/ 297402 h 349397"/>
              <a:gd name="T48" fmla="*/ 3497147 w 3544584"/>
              <a:gd name="T49" fmla="*/ 266644 h 349397"/>
              <a:gd name="T50" fmla="*/ 3527914 w 3544584"/>
              <a:gd name="T51" fmla="*/ 256390 h 349397"/>
              <a:gd name="T52" fmla="*/ 3538168 w 3544584"/>
              <a:gd name="T53" fmla="*/ 225633 h 349397"/>
              <a:gd name="T54" fmla="*/ 3497147 w 3544584"/>
              <a:gd name="T55" fmla="*/ 51337 h 349397"/>
              <a:gd name="T56" fmla="*/ 3466380 w 3544584"/>
              <a:gd name="T57" fmla="*/ 61591 h 349397"/>
              <a:gd name="T58" fmla="*/ 3404846 w 3544584"/>
              <a:gd name="T59" fmla="*/ 51337 h 349397"/>
              <a:gd name="T60" fmla="*/ 3363825 w 3544584"/>
              <a:gd name="T61" fmla="*/ 41088 h 349397"/>
              <a:gd name="T62" fmla="*/ 2953602 w 3544584"/>
              <a:gd name="T63" fmla="*/ 51337 h 349397"/>
              <a:gd name="T64" fmla="*/ 2892069 w 3544584"/>
              <a:gd name="T65" fmla="*/ 61591 h 349397"/>
              <a:gd name="T66" fmla="*/ 2851046 w 3544584"/>
              <a:gd name="T67" fmla="*/ 71845 h 349397"/>
              <a:gd name="T68" fmla="*/ 2779258 w 3544584"/>
              <a:gd name="T69" fmla="*/ 82094 h 349397"/>
              <a:gd name="T70" fmla="*/ 2748491 w 3544584"/>
              <a:gd name="T71" fmla="*/ 92349 h 349397"/>
              <a:gd name="T72" fmla="*/ 2635681 w 3544584"/>
              <a:gd name="T73" fmla="*/ 71845 h 349397"/>
              <a:gd name="T74" fmla="*/ 2204946 w 3544584"/>
              <a:gd name="T75" fmla="*/ 51337 h 349397"/>
              <a:gd name="T76" fmla="*/ 1784468 w 3544584"/>
              <a:gd name="T77" fmla="*/ 71845 h 349397"/>
              <a:gd name="T78" fmla="*/ 1763957 w 3544584"/>
              <a:gd name="T79" fmla="*/ 92349 h 349397"/>
              <a:gd name="T80" fmla="*/ 1733190 w 3544584"/>
              <a:gd name="T81" fmla="*/ 102603 h 349397"/>
              <a:gd name="T82" fmla="*/ 1661402 w 3544584"/>
              <a:gd name="T83" fmla="*/ 71845 h 349397"/>
              <a:gd name="T84" fmla="*/ 1610124 w 3544584"/>
              <a:gd name="T85" fmla="*/ 71845 h 349397"/>
              <a:gd name="T86" fmla="*/ 1435779 w 3544584"/>
              <a:gd name="T87" fmla="*/ 92349 h 349397"/>
              <a:gd name="T88" fmla="*/ 1405012 w 3544584"/>
              <a:gd name="T89" fmla="*/ 61591 h 349397"/>
              <a:gd name="T90" fmla="*/ 1374245 w 3544584"/>
              <a:gd name="T91" fmla="*/ 61590 h 349397"/>
              <a:gd name="T92" fmla="*/ 1312712 w 3544584"/>
              <a:gd name="T93" fmla="*/ 51336 h 349397"/>
              <a:gd name="T94" fmla="*/ 1261435 w 3544584"/>
              <a:gd name="T95" fmla="*/ 92348 h 349397"/>
              <a:gd name="T96" fmla="*/ 1117856 w 3544584"/>
              <a:gd name="T97" fmla="*/ 41088 h 349397"/>
              <a:gd name="T98" fmla="*/ 881977 w 3544584"/>
              <a:gd name="T99" fmla="*/ 76 h 349397"/>
              <a:gd name="T100" fmla="*/ 830702 w 3544584"/>
              <a:gd name="T101" fmla="*/ 51337 h 349397"/>
              <a:gd name="T102" fmla="*/ 502524 w 3544584"/>
              <a:gd name="T103" fmla="*/ 30834 h 349397"/>
              <a:gd name="T104" fmla="*/ 389713 w 3544584"/>
              <a:gd name="T105" fmla="*/ 20579 h 349397"/>
              <a:gd name="T106" fmla="*/ 328178 w 3544584"/>
              <a:gd name="T107" fmla="*/ 41088 h 349397"/>
              <a:gd name="T108" fmla="*/ 297411 w 3544584"/>
              <a:gd name="T109" fmla="*/ 51337 h 349397"/>
              <a:gd name="T110" fmla="*/ 194854 w 3544584"/>
              <a:gd name="T111" fmla="*/ 30834 h 349397"/>
              <a:gd name="T112" fmla="*/ 0 w 3544584"/>
              <a:gd name="T113" fmla="*/ 20579 h 349397"/>
              <a:gd name="T114" fmla="*/ 92303 w 3544584"/>
              <a:gd name="T115" fmla="*/ 10330 h 349397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44584" h="349397">
                <a:moveTo>
                  <a:pt x="92468" y="10350"/>
                </a:moveTo>
                <a:lnTo>
                  <a:pt x="92468" y="10350"/>
                </a:lnTo>
                <a:cubicBezTo>
                  <a:pt x="82194" y="37748"/>
                  <a:pt x="71645" y="65045"/>
                  <a:pt x="61645" y="92544"/>
                </a:cubicBezTo>
                <a:cubicBezTo>
                  <a:pt x="57944" y="102722"/>
                  <a:pt x="51371" y="112536"/>
                  <a:pt x="51371" y="123366"/>
                </a:cubicBezTo>
                <a:cubicBezTo>
                  <a:pt x="51371" y="134196"/>
                  <a:pt x="58220" y="143914"/>
                  <a:pt x="61645" y="154188"/>
                </a:cubicBezTo>
                <a:cubicBezTo>
                  <a:pt x="65070" y="185011"/>
                  <a:pt x="60401" y="217862"/>
                  <a:pt x="71919" y="246656"/>
                </a:cubicBezTo>
                <a:cubicBezTo>
                  <a:pt x="75941" y="256711"/>
                  <a:pt x="93055" y="252087"/>
                  <a:pt x="102742" y="256930"/>
                </a:cubicBezTo>
                <a:cubicBezTo>
                  <a:pt x="113786" y="262452"/>
                  <a:pt x="122520" y="271956"/>
                  <a:pt x="133564" y="277478"/>
                </a:cubicBezTo>
                <a:cubicBezTo>
                  <a:pt x="153358" y="287375"/>
                  <a:pt x="185725" y="291441"/>
                  <a:pt x="205483" y="298027"/>
                </a:cubicBezTo>
                <a:cubicBezTo>
                  <a:pt x="321545" y="336714"/>
                  <a:pt x="199469" y="304229"/>
                  <a:pt x="297951" y="328849"/>
                </a:cubicBezTo>
                <a:cubicBezTo>
                  <a:pt x="337057" y="321028"/>
                  <a:pt x="394195" y="308301"/>
                  <a:pt x="431515" y="308301"/>
                </a:cubicBezTo>
                <a:cubicBezTo>
                  <a:pt x="459126" y="308301"/>
                  <a:pt x="486310" y="315150"/>
                  <a:pt x="513708" y="318575"/>
                </a:cubicBezTo>
                <a:lnTo>
                  <a:pt x="575353" y="339123"/>
                </a:lnTo>
                <a:lnTo>
                  <a:pt x="606175" y="349397"/>
                </a:lnTo>
                <a:cubicBezTo>
                  <a:pt x="667820" y="345972"/>
                  <a:pt x="729583" y="344250"/>
                  <a:pt x="791110" y="339123"/>
                </a:cubicBezTo>
                <a:cubicBezTo>
                  <a:pt x="851463" y="334094"/>
                  <a:pt x="842862" y="328773"/>
                  <a:pt x="893852" y="318575"/>
                </a:cubicBezTo>
                <a:cubicBezTo>
                  <a:pt x="962573" y="304831"/>
                  <a:pt x="989656" y="305196"/>
                  <a:pt x="1068513" y="298027"/>
                </a:cubicBezTo>
                <a:lnTo>
                  <a:pt x="1458931" y="308301"/>
                </a:lnTo>
                <a:lnTo>
                  <a:pt x="1962364" y="318575"/>
                </a:lnTo>
                <a:cubicBezTo>
                  <a:pt x="2051441" y="320950"/>
                  <a:pt x="2140422" y="326229"/>
                  <a:pt x="2229492" y="328849"/>
                </a:cubicBezTo>
                <a:lnTo>
                  <a:pt x="3010328" y="349397"/>
                </a:lnTo>
                <a:cubicBezTo>
                  <a:pt x="3106220" y="345972"/>
                  <a:pt x="3202251" y="345301"/>
                  <a:pt x="3298005" y="339123"/>
                </a:cubicBezTo>
                <a:cubicBezTo>
                  <a:pt x="3351720" y="335658"/>
                  <a:pt x="3307070" y="322641"/>
                  <a:pt x="3359650" y="308301"/>
                </a:cubicBezTo>
                <a:cubicBezTo>
                  <a:pt x="3386288" y="301036"/>
                  <a:pt x="3414445" y="301452"/>
                  <a:pt x="3441843" y="298027"/>
                </a:cubicBezTo>
                <a:cubicBezTo>
                  <a:pt x="3462391" y="287753"/>
                  <a:pt x="3482494" y="276535"/>
                  <a:pt x="3503488" y="267204"/>
                </a:cubicBezTo>
                <a:cubicBezTo>
                  <a:pt x="3513384" y="262806"/>
                  <a:pt x="3526652" y="264588"/>
                  <a:pt x="3534310" y="256930"/>
                </a:cubicBezTo>
                <a:cubicBezTo>
                  <a:pt x="3541968" y="249272"/>
                  <a:pt x="3541159" y="236382"/>
                  <a:pt x="3544584" y="226108"/>
                </a:cubicBezTo>
                <a:cubicBezTo>
                  <a:pt x="3536830" y="179581"/>
                  <a:pt x="3523036" y="84027"/>
                  <a:pt x="3503488" y="51447"/>
                </a:cubicBezTo>
                <a:cubicBezTo>
                  <a:pt x="3497916" y="42160"/>
                  <a:pt x="3482939" y="58296"/>
                  <a:pt x="3472665" y="61721"/>
                </a:cubicBezTo>
                <a:cubicBezTo>
                  <a:pt x="3452117" y="58296"/>
                  <a:pt x="3431447" y="55532"/>
                  <a:pt x="3411020" y="51447"/>
                </a:cubicBezTo>
                <a:cubicBezTo>
                  <a:pt x="3397174" y="48678"/>
                  <a:pt x="3384044" y="41173"/>
                  <a:pt x="3369924" y="41173"/>
                </a:cubicBezTo>
                <a:cubicBezTo>
                  <a:pt x="3232892" y="41173"/>
                  <a:pt x="3095946" y="48022"/>
                  <a:pt x="2958957" y="51447"/>
                </a:cubicBezTo>
                <a:cubicBezTo>
                  <a:pt x="2938409" y="54872"/>
                  <a:pt x="2917740" y="57636"/>
                  <a:pt x="2897313" y="61721"/>
                </a:cubicBezTo>
                <a:cubicBezTo>
                  <a:pt x="2883467" y="64490"/>
                  <a:pt x="2870109" y="69469"/>
                  <a:pt x="2856216" y="71995"/>
                </a:cubicBezTo>
                <a:cubicBezTo>
                  <a:pt x="2832390" y="76327"/>
                  <a:pt x="2808270" y="78844"/>
                  <a:pt x="2784297" y="82269"/>
                </a:cubicBezTo>
                <a:cubicBezTo>
                  <a:pt x="2774023" y="85694"/>
                  <a:pt x="2764304" y="92544"/>
                  <a:pt x="2753474" y="92544"/>
                </a:cubicBezTo>
                <a:cubicBezTo>
                  <a:pt x="2541892" y="92544"/>
                  <a:pt x="2778333" y="80987"/>
                  <a:pt x="2640459" y="71995"/>
                </a:cubicBezTo>
                <a:cubicBezTo>
                  <a:pt x="2496763" y="62624"/>
                  <a:pt x="2352782" y="58296"/>
                  <a:pt x="2208944" y="51447"/>
                </a:cubicBezTo>
                <a:cubicBezTo>
                  <a:pt x="2068531" y="58296"/>
                  <a:pt x="1927680" y="58974"/>
                  <a:pt x="1787704" y="71995"/>
                </a:cubicBezTo>
                <a:cubicBezTo>
                  <a:pt x="1778059" y="72892"/>
                  <a:pt x="1775461" y="87560"/>
                  <a:pt x="1767155" y="92544"/>
                </a:cubicBezTo>
                <a:cubicBezTo>
                  <a:pt x="1757869" y="98116"/>
                  <a:pt x="1746607" y="99393"/>
                  <a:pt x="1736333" y="102818"/>
                </a:cubicBezTo>
                <a:cubicBezTo>
                  <a:pt x="1727771" y="109667"/>
                  <a:pt x="1684962" y="71995"/>
                  <a:pt x="1664414" y="71995"/>
                </a:cubicBezTo>
                <a:cubicBezTo>
                  <a:pt x="1643866" y="71995"/>
                  <a:pt x="1650715" y="68570"/>
                  <a:pt x="1613043" y="71995"/>
                </a:cubicBezTo>
                <a:cubicBezTo>
                  <a:pt x="1575371" y="75420"/>
                  <a:pt x="1472629" y="94256"/>
                  <a:pt x="1438382" y="92544"/>
                </a:cubicBezTo>
                <a:cubicBezTo>
                  <a:pt x="1404135" y="90832"/>
                  <a:pt x="1417834" y="66858"/>
                  <a:pt x="1407560" y="61721"/>
                </a:cubicBezTo>
                <a:cubicBezTo>
                  <a:pt x="1397286" y="56584"/>
                  <a:pt x="1392148" y="63432"/>
                  <a:pt x="1376737" y="61720"/>
                </a:cubicBezTo>
                <a:cubicBezTo>
                  <a:pt x="1361326" y="60008"/>
                  <a:pt x="1333928" y="46309"/>
                  <a:pt x="1315092" y="51446"/>
                </a:cubicBezTo>
                <a:cubicBezTo>
                  <a:pt x="1296256" y="56583"/>
                  <a:pt x="1296257" y="94255"/>
                  <a:pt x="1263722" y="92543"/>
                </a:cubicBezTo>
                <a:cubicBezTo>
                  <a:pt x="1231187" y="90831"/>
                  <a:pt x="1183241" y="56584"/>
                  <a:pt x="1119883" y="41173"/>
                </a:cubicBezTo>
                <a:cubicBezTo>
                  <a:pt x="1056526" y="25762"/>
                  <a:pt x="931523" y="-1636"/>
                  <a:pt x="883577" y="76"/>
                </a:cubicBezTo>
                <a:cubicBezTo>
                  <a:pt x="835631" y="1788"/>
                  <a:pt x="895564" y="46310"/>
                  <a:pt x="832207" y="51447"/>
                </a:cubicBezTo>
                <a:cubicBezTo>
                  <a:pt x="768850" y="56584"/>
                  <a:pt x="548653" y="34129"/>
                  <a:pt x="503434" y="30899"/>
                </a:cubicBezTo>
                <a:cubicBezTo>
                  <a:pt x="465703" y="28204"/>
                  <a:pt x="428090" y="24049"/>
                  <a:pt x="390418" y="20624"/>
                </a:cubicBezTo>
                <a:lnTo>
                  <a:pt x="328773" y="41173"/>
                </a:lnTo>
                <a:lnTo>
                  <a:pt x="297951" y="51447"/>
                </a:lnTo>
                <a:cubicBezTo>
                  <a:pt x="262759" y="42649"/>
                  <a:pt x="232255" y="33863"/>
                  <a:pt x="195209" y="30899"/>
                </a:cubicBezTo>
                <a:cubicBezTo>
                  <a:pt x="130257" y="25703"/>
                  <a:pt x="65070" y="24049"/>
                  <a:pt x="0" y="20624"/>
                </a:cubicBezTo>
                <a:cubicBezTo>
                  <a:pt x="78536" y="7535"/>
                  <a:pt x="77057" y="12062"/>
                  <a:pt x="92468" y="10350"/>
                </a:cubicBezTo>
                <a:close/>
              </a:path>
            </a:pathLst>
          </a:custGeom>
          <a:solidFill>
            <a:srgbClr val="9966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pPr defTabSz="685800">
              <a:defRPr/>
            </a:pPr>
            <a:endParaRPr lang="en-US" sz="1800">
              <a:solidFill>
                <a:srgbClr val="000000"/>
              </a:solidFill>
              <a:latin typeface="Symbol" pitchFamily="18" charset="2"/>
            </a:endParaRPr>
          </a:p>
        </p:txBody>
      </p:sp>
      <p:graphicFrame>
        <p:nvGraphicFramePr>
          <p:cNvPr id="25" name="Objekt 24"/>
          <p:cNvGraphicFramePr>
            <a:graphicFrameLocks noChangeAspect="1"/>
          </p:cNvGraphicFramePr>
          <p:nvPr/>
        </p:nvGraphicFramePr>
        <p:xfrm>
          <a:off x="319793" y="2978983"/>
          <a:ext cx="495300" cy="259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3" imgW="482400" imgH="228600" progId="Equation.DSMT4">
                  <p:embed/>
                </p:oleObj>
              </mc:Choice>
              <mc:Fallback>
                <p:oleObj name="Equation" r:id="rId13" imgW="482400" imgH="228600" progId="Equation.DSMT4">
                  <p:embed/>
                  <p:pic>
                    <p:nvPicPr>
                      <p:cNvPr id="25" name="Objekt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9793" y="2978983"/>
                        <a:ext cx="495300" cy="25955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" name="Objekt 84"/>
          <p:cNvGraphicFramePr>
            <a:graphicFrameLocks noChangeAspect="1"/>
          </p:cNvGraphicFramePr>
          <p:nvPr/>
        </p:nvGraphicFramePr>
        <p:xfrm>
          <a:off x="3739268" y="3229701"/>
          <a:ext cx="107753" cy="2514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5" imgW="75960" imgH="177480" progId="Equation.DSMT4">
                  <p:embed/>
                </p:oleObj>
              </mc:Choice>
              <mc:Fallback>
                <p:oleObj name="Equation" r:id="rId15" imgW="75960" imgH="177480" progId="Equation.DSMT4">
                  <p:embed/>
                  <p:pic>
                    <p:nvPicPr>
                      <p:cNvPr id="26" name="Objekt 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39268" y="3229701"/>
                        <a:ext cx="107753" cy="25142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7" name="Gerade Verbindung 86"/>
          <p:cNvCxnSpPr>
            <a:cxnSpLocks noChangeShapeType="1"/>
          </p:cNvCxnSpPr>
          <p:nvPr/>
        </p:nvCxnSpPr>
        <p:spPr bwMode="auto">
          <a:xfrm>
            <a:off x="3667236" y="3202782"/>
            <a:ext cx="245269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28" name="Objekt 88"/>
          <p:cNvGraphicFramePr>
            <a:graphicFrameLocks noChangeAspect="1"/>
          </p:cNvGraphicFramePr>
          <p:nvPr/>
        </p:nvGraphicFramePr>
        <p:xfrm>
          <a:off x="3960129" y="2624140"/>
          <a:ext cx="163116" cy="2119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17" imgW="164885" imgH="215619" progId="Equation.3">
                  <p:embed/>
                </p:oleObj>
              </mc:Choice>
              <mc:Fallback>
                <p:oleObj name="Formel" r:id="rId17" imgW="164885" imgH="215619" progId="Equation.3">
                  <p:embed/>
                  <p:pic>
                    <p:nvPicPr>
                      <p:cNvPr id="28" name="Objekt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60129" y="2624140"/>
                        <a:ext cx="163116" cy="21193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9" name="Gerade Verbindung 90"/>
          <p:cNvCxnSpPr>
            <a:cxnSpLocks noChangeShapeType="1"/>
            <a:endCxn id="12" idx="75"/>
          </p:cNvCxnSpPr>
          <p:nvPr/>
        </p:nvCxnSpPr>
        <p:spPr bwMode="auto">
          <a:xfrm flipH="1">
            <a:off x="3442209" y="3199210"/>
            <a:ext cx="225028" cy="11549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 Verbindung 92"/>
          <p:cNvCxnSpPr>
            <a:cxnSpLocks noChangeShapeType="1"/>
            <a:endCxn id="12" idx="0"/>
          </p:cNvCxnSpPr>
          <p:nvPr/>
        </p:nvCxnSpPr>
        <p:spPr bwMode="auto">
          <a:xfrm>
            <a:off x="845454" y="3175399"/>
            <a:ext cx="200025" cy="11668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31" name="Objekt 30"/>
          <p:cNvGraphicFramePr>
            <a:graphicFrameLocks noChangeAspect="1"/>
          </p:cNvGraphicFramePr>
          <p:nvPr/>
        </p:nvGraphicFramePr>
        <p:xfrm>
          <a:off x="552653" y="2488103"/>
          <a:ext cx="195263" cy="257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9" imgW="190440" imgH="228600" progId="Equation.DSMT4">
                  <p:embed/>
                </p:oleObj>
              </mc:Choice>
              <mc:Fallback>
                <p:oleObj name="Equation" r:id="rId19" imgW="190440" imgH="228600" progId="Equation.DSMT4">
                  <p:embed/>
                  <p:pic>
                    <p:nvPicPr>
                      <p:cNvPr id="31" name="Objekt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2653" y="2488103"/>
                        <a:ext cx="195263" cy="257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2" name="Gerade Verbindung 97"/>
          <p:cNvCxnSpPr>
            <a:cxnSpLocks noChangeShapeType="1"/>
          </p:cNvCxnSpPr>
          <p:nvPr/>
        </p:nvCxnSpPr>
        <p:spPr bwMode="auto">
          <a:xfrm>
            <a:off x="845454" y="2627711"/>
            <a:ext cx="204788" cy="97631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33" name="Objekt 32"/>
          <p:cNvGraphicFramePr>
            <a:graphicFrameLocks noChangeAspect="1"/>
          </p:cNvGraphicFramePr>
          <p:nvPr/>
        </p:nvGraphicFramePr>
        <p:xfrm>
          <a:off x="328363" y="3337323"/>
          <a:ext cx="445654" cy="3008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1" imgW="444240" imgH="228600" progId="Equation.DSMT4">
                  <p:embed/>
                </p:oleObj>
              </mc:Choice>
              <mc:Fallback>
                <p:oleObj name="Equation" r:id="rId21" imgW="444240" imgH="228600" progId="Equation.DSMT4">
                  <p:embed/>
                  <p:pic>
                    <p:nvPicPr>
                      <p:cNvPr id="33" name="Objekt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28363" y="3337323"/>
                        <a:ext cx="445654" cy="30081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4" name="Gerade Verbindung 100"/>
          <p:cNvCxnSpPr>
            <a:cxnSpLocks noChangeShapeType="1"/>
            <a:endCxn id="9" idx="21"/>
          </p:cNvCxnSpPr>
          <p:nvPr/>
        </p:nvCxnSpPr>
        <p:spPr bwMode="auto">
          <a:xfrm>
            <a:off x="845455" y="3492105"/>
            <a:ext cx="197644" cy="54769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Gerade Verbindung mit Pfeil 111"/>
          <p:cNvCxnSpPr>
            <a:cxnSpLocks noChangeShapeType="1"/>
          </p:cNvCxnSpPr>
          <p:nvPr/>
        </p:nvCxnSpPr>
        <p:spPr bwMode="auto">
          <a:xfrm>
            <a:off x="1871773" y="3599261"/>
            <a:ext cx="0" cy="202406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36" name="Objekt 113"/>
          <p:cNvGraphicFramePr>
            <a:graphicFrameLocks noChangeAspect="1"/>
          </p:cNvGraphicFramePr>
          <p:nvPr/>
        </p:nvGraphicFramePr>
        <p:xfrm>
          <a:off x="1964642" y="3632097"/>
          <a:ext cx="296466" cy="1393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3" imgW="342720" imgH="164880" progId="Equation.DSMT4">
                  <p:embed/>
                </p:oleObj>
              </mc:Choice>
              <mc:Fallback>
                <p:oleObj name="Equation" r:id="rId23" imgW="342720" imgH="164880" progId="Equation.DSMT4">
                  <p:embed/>
                  <p:pic>
                    <p:nvPicPr>
                      <p:cNvPr id="36" name="Objek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4642" y="3632097"/>
                        <a:ext cx="296466" cy="13930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7" name="Gerade Verbindung mit Pfeil 117"/>
          <p:cNvCxnSpPr>
            <a:cxnSpLocks noChangeShapeType="1"/>
          </p:cNvCxnSpPr>
          <p:nvPr/>
        </p:nvCxnSpPr>
        <p:spPr bwMode="auto">
          <a:xfrm>
            <a:off x="2206339" y="2365773"/>
            <a:ext cx="0" cy="29408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38" name="Objekt 118"/>
          <p:cNvGraphicFramePr>
            <a:graphicFrameLocks noChangeAspect="1"/>
          </p:cNvGraphicFramePr>
          <p:nvPr/>
        </p:nvGraphicFramePr>
        <p:xfrm>
          <a:off x="2242058" y="2424803"/>
          <a:ext cx="408384" cy="1393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5" imgW="469800" imgH="164880" progId="Equation.DSMT4">
                  <p:embed/>
                </p:oleObj>
              </mc:Choice>
              <mc:Fallback>
                <p:oleObj name="Equation" r:id="rId25" imgW="469800" imgH="164880" progId="Equation.DSMT4">
                  <p:embed/>
                  <p:pic>
                    <p:nvPicPr>
                      <p:cNvPr id="38" name="Objekt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42058" y="2424803"/>
                        <a:ext cx="408384" cy="13930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Gerade Verbindung mit Pfeil 3"/>
          <p:cNvCxnSpPr>
            <a:cxnSpLocks noChangeShapeType="1"/>
          </p:cNvCxnSpPr>
          <p:nvPr/>
        </p:nvCxnSpPr>
        <p:spPr bwMode="auto">
          <a:xfrm flipH="1">
            <a:off x="2087276" y="3283744"/>
            <a:ext cx="119063" cy="90488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Gerade Verbindung mit Pfeil 5"/>
          <p:cNvCxnSpPr>
            <a:cxnSpLocks noChangeShapeType="1"/>
          </p:cNvCxnSpPr>
          <p:nvPr/>
        </p:nvCxnSpPr>
        <p:spPr bwMode="auto">
          <a:xfrm flipV="1">
            <a:off x="2328973" y="3337322"/>
            <a:ext cx="105966" cy="8572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41" name="Objekt 7"/>
          <p:cNvGraphicFramePr>
            <a:graphicFrameLocks noChangeAspect="1"/>
          </p:cNvGraphicFramePr>
          <p:nvPr/>
        </p:nvGraphicFramePr>
        <p:xfrm>
          <a:off x="2103946" y="3133727"/>
          <a:ext cx="253603" cy="1500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27" imgW="291847" imgH="177646" progId="Equation.3">
                  <p:embed/>
                </p:oleObj>
              </mc:Choice>
              <mc:Fallback>
                <p:oleObj name="Formel" r:id="rId27" imgW="291847" imgH="177646" progId="Equation.3">
                  <p:embed/>
                  <p:pic>
                    <p:nvPicPr>
                      <p:cNvPr id="41" name="Objek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03946" y="3133727"/>
                        <a:ext cx="253603" cy="1500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2" name="Objekt 8"/>
          <p:cNvGraphicFramePr>
            <a:graphicFrameLocks noChangeAspect="1"/>
          </p:cNvGraphicFramePr>
          <p:nvPr/>
        </p:nvGraphicFramePr>
        <p:xfrm>
          <a:off x="2092039" y="3395664"/>
          <a:ext cx="242888" cy="1393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29" imgW="279279" imgH="165028" progId="Equation.3">
                  <p:embed/>
                </p:oleObj>
              </mc:Choice>
              <mc:Fallback>
                <p:oleObj name="Formel" r:id="rId29" imgW="279279" imgH="165028" progId="Equation.3">
                  <p:embed/>
                  <p:pic>
                    <p:nvPicPr>
                      <p:cNvPr id="42" name="Objek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92039" y="3395664"/>
                        <a:ext cx="242888" cy="13930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3" name="Objekt 9"/>
          <p:cNvGraphicFramePr>
            <a:graphicFrameLocks noChangeAspect="1"/>
          </p:cNvGraphicFramePr>
          <p:nvPr/>
        </p:nvGraphicFramePr>
        <p:xfrm>
          <a:off x="1439577" y="2901555"/>
          <a:ext cx="330994" cy="1928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31" imgW="381000" imgH="228600" progId="Equation.3">
                  <p:embed/>
                </p:oleObj>
              </mc:Choice>
              <mc:Fallback>
                <p:oleObj name="Formel" r:id="rId31" imgW="381000" imgH="228600" progId="Equation.3">
                  <p:embed/>
                  <p:pic>
                    <p:nvPicPr>
                      <p:cNvPr id="43" name="Objek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39577" y="2901555"/>
                        <a:ext cx="330994" cy="1928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4" name="Objekt 10"/>
          <p:cNvGraphicFramePr>
            <a:graphicFrameLocks noChangeAspect="1"/>
          </p:cNvGraphicFramePr>
          <p:nvPr/>
        </p:nvGraphicFramePr>
        <p:xfrm>
          <a:off x="2103946" y="2765822"/>
          <a:ext cx="253603" cy="1393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33" imgW="291847" imgH="164957" progId="Equation.3">
                  <p:embed/>
                </p:oleObj>
              </mc:Choice>
              <mc:Fallback>
                <p:oleObj name="Formel" r:id="rId33" imgW="291847" imgH="164957" progId="Equation.3">
                  <p:embed/>
                  <p:pic>
                    <p:nvPicPr>
                      <p:cNvPr id="44" name="Objek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03946" y="2765822"/>
                        <a:ext cx="253603" cy="13930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5" name="Objekt 11"/>
          <p:cNvGraphicFramePr>
            <a:graphicFrameLocks noChangeAspect="1"/>
          </p:cNvGraphicFramePr>
          <p:nvPr/>
        </p:nvGraphicFramePr>
        <p:xfrm>
          <a:off x="2631391" y="2874171"/>
          <a:ext cx="320279" cy="1928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35" imgW="368300" imgH="228600" progId="Equation.3">
                  <p:embed/>
                </p:oleObj>
              </mc:Choice>
              <mc:Fallback>
                <p:oleObj name="Formel" r:id="rId35" imgW="368300" imgH="228600" progId="Equation.3">
                  <p:embed/>
                  <p:pic>
                    <p:nvPicPr>
                      <p:cNvPr id="45" name="Objek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31391" y="2874171"/>
                        <a:ext cx="320279" cy="1928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6" name="Gerade Verbindung mit Pfeil 13"/>
          <p:cNvCxnSpPr>
            <a:cxnSpLocks noChangeShapeType="1"/>
          </p:cNvCxnSpPr>
          <p:nvPr/>
        </p:nvCxnSpPr>
        <p:spPr bwMode="auto">
          <a:xfrm>
            <a:off x="1547923" y="3067051"/>
            <a:ext cx="0" cy="132159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Gerade Verbindung mit Pfeil 15"/>
          <p:cNvCxnSpPr>
            <a:cxnSpLocks noChangeShapeType="1"/>
          </p:cNvCxnSpPr>
          <p:nvPr/>
        </p:nvCxnSpPr>
        <p:spPr bwMode="auto">
          <a:xfrm>
            <a:off x="2736167" y="3055144"/>
            <a:ext cx="0" cy="15716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8" name="Gerade Verbindung mit Pfeil 17"/>
          <p:cNvCxnSpPr>
            <a:cxnSpLocks noChangeShapeType="1"/>
          </p:cNvCxnSpPr>
          <p:nvPr/>
        </p:nvCxnSpPr>
        <p:spPr bwMode="auto">
          <a:xfrm>
            <a:off x="2195623" y="2959895"/>
            <a:ext cx="0" cy="10477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Rechteck 3"/>
          <p:cNvSpPr>
            <a:spLocks noChangeArrowheads="1"/>
          </p:cNvSpPr>
          <p:nvPr/>
        </p:nvSpPr>
        <p:spPr bwMode="auto">
          <a:xfrm>
            <a:off x="3958343" y="3052606"/>
            <a:ext cx="1338858" cy="663038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685800">
              <a:spcBef>
                <a:spcPct val="0"/>
              </a:spcBef>
              <a:buNone/>
              <a:defRPr/>
            </a:pPr>
            <a:endParaRPr lang="en-US" altLang="en-US" sz="1800">
              <a:solidFill>
                <a:srgbClr val="000000"/>
              </a:solidFill>
            </a:endParaRPr>
          </a:p>
        </p:txBody>
      </p:sp>
      <p:graphicFrame>
        <p:nvGraphicFramePr>
          <p:cNvPr id="50" name="Objekt 49"/>
          <p:cNvGraphicFramePr>
            <a:graphicFrameLocks noChangeAspect="1"/>
          </p:cNvGraphicFramePr>
          <p:nvPr/>
        </p:nvGraphicFramePr>
        <p:xfrm>
          <a:off x="5478176" y="3715942"/>
          <a:ext cx="165497" cy="2119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Formel" r:id="rId37" imgW="164880" imgH="215640" progId="Equation.3">
                  <p:embed/>
                </p:oleObj>
              </mc:Choice>
              <mc:Fallback>
                <p:oleObj name="Formel" r:id="rId37" imgW="164880" imgH="215640" progId="Equation.3">
                  <p:embed/>
                  <p:pic>
                    <p:nvPicPr>
                      <p:cNvPr id="50" name="Objekt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78176" y="3715942"/>
                        <a:ext cx="165497" cy="211931"/>
                      </a:xfrm>
                      <a:prstGeom prst="rect">
                        <a:avLst/>
                      </a:prstGeom>
                      <a:solidFill>
                        <a:srgbClr val="C2FFF0"/>
                      </a:solidFill>
                      <a:ln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1" name="Gerade Verbindung 5"/>
          <p:cNvCxnSpPr/>
          <p:nvPr/>
        </p:nvCxnSpPr>
        <p:spPr bwMode="auto">
          <a:xfrm>
            <a:off x="4536392" y="3862388"/>
            <a:ext cx="86677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Rechteck 3"/>
          <p:cNvSpPr>
            <a:spLocks noChangeArrowheads="1"/>
          </p:cNvSpPr>
          <p:nvPr/>
        </p:nvSpPr>
        <p:spPr bwMode="auto">
          <a:xfrm>
            <a:off x="4328924" y="3067684"/>
            <a:ext cx="164902" cy="210145"/>
          </a:xfrm>
          <a:prstGeom prst="rect">
            <a:avLst/>
          </a:prstGeom>
          <a:solidFill>
            <a:schemeClr val="accent1">
              <a:alpha val="32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defTabSz="685800">
              <a:spcBef>
                <a:spcPct val="0"/>
              </a:spcBef>
              <a:buNone/>
              <a:defRPr/>
            </a:pPr>
            <a:endParaRPr lang="en-US" altLang="en-US" sz="1800">
              <a:solidFill>
                <a:srgbClr val="000000"/>
              </a:solidFill>
            </a:endParaRPr>
          </a:p>
        </p:txBody>
      </p:sp>
      <p:graphicFrame>
        <p:nvGraphicFramePr>
          <p:cNvPr id="53" name="Objekt 52"/>
          <p:cNvGraphicFramePr>
            <a:graphicFrameLocks noChangeAspect="1"/>
          </p:cNvGraphicFramePr>
          <p:nvPr/>
        </p:nvGraphicFramePr>
        <p:xfrm>
          <a:off x="5460316" y="4046021"/>
          <a:ext cx="224231" cy="2638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9" imgW="215640" imgH="253800" progId="Equation.DSMT4">
                  <p:embed/>
                </p:oleObj>
              </mc:Choice>
              <mc:Fallback>
                <p:oleObj name="Equation" r:id="rId39" imgW="215640" imgH="253800" progId="Equation.DSMT4">
                  <p:embed/>
                  <p:pic>
                    <p:nvPicPr>
                      <p:cNvPr id="53" name="Objekt 52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5460316" y="4046021"/>
                        <a:ext cx="224231" cy="263801"/>
                      </a:xfrm>
                      <a:prstGeom prst="rect">
                        <a:avLst/>
                      </a:prstGeom>
                      <a:solidFill>
                        <a:srgbClr val="C00000">
                          <a:alpha val="48000"/>
                        </a:srgbClr>
                      </a:solidFill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4" name="Objekt 53"/>
          <p:cNvGraphicFramePr>
            <a:graphicFrameLocks noChangeAspect="1"/>
          </p:cNvGraphicFramePr>
          <p:nvPr/>
        </p:nvGraphicFramePr>
        <p:xfrm>
          <a:off x="5544778" y="4353949"/>
          <a:ext cx="107156" cy="251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41" imgW="143291" imgH="335532" progId="Equation.DSMT4">
                  <p:embed/>
                </p:oleObj>
              </mc:Choice>
              <mc:Fallback>
                <p:oleObj name="Equation" r:id="rId41" imgW="143291" imgH="335532" progId="Equation.DSMT4">
                  <p:embed/>
                  <p:pic>
                    <p:nvPicPr>
                      <p:cNvPr id="54" name="Objekt 53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5544778" y="4353949"/>
                        <a:ext cx="107156" cy="251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5" name="Gerade Verbindung mit Pfeil 111"/>
          <p:cNvCxnSpPr>
            <a:cxnSpLocks noChangeShapeType="1"/>
          </p:cNvCxnSpPr>
          <p:nvPr/>
        </p:nvCxnSpPr>
        <p:spPr bwMode="auto">
          <a:xfrm>
            <a:off x="2184256" y="3837386"/>
            <a:ext cx="0" cy="202406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56" name="Objekt 113"/>
          <p:cNvGraphicFramePr>
            <a:graphicFrameLocks noChangeAspect="1"/>
          </p:cNvGraphicFramePr>
          <p:nvPr/>
        </p:nvGraphicFramePr>
        <p:xfrm>
          <a:off x="2265870" y="3865459"/>
          <a:ext cx="319088" cy="1500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43" imgW="368280" imgH="177480" progId="Equation.DSMT4">
                  <p:embed/>
                </p:oleObj>
              </mc:Choice>
              <mc:Fallback>
                <p:oleObj name="Equation" r:id="rId43" imgW="368280" imgH="177480" progId="Equation.DSMT4">
                  <p:embed/>
                  <p:pic>
                    <p:nvPicPr>
                      <p:cNvPr id="56" name="Objekt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65870" y="3865459"/>
                        <a:ext cx="319088" cy="1500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tangle 14"/>
          <p:cNvSpPr>
            <a:spLocks noChangeArrowheads="1"/>
          </p:cNvSpPr>
          <p:nvPr/>
        </p:nvSpPr>
        <p:spPr bwMode="auto">
          <a:xfrm>
            <a:off x="4328924" y="2229761"/>
            <a:ext cx="4321953" cy="7053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marL="285750" indent="-2857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214313" indent="-214313" defTabSz="685800">
              <a:spcBef>
                <a:spcPts val="450"/>
              </a:spcBef>
              <a:buFont typeface="Calibri" pitchFamily="34" charset="0"/>
              <a:buChar char="‒"/>
              <a:defRPr/>
            </a:pP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T</a:t>
            </a:r>
            <a:r>
              <a:rPr lang="en-GB" altLang="de-DE" sz="1050" b="1" baseline="-25000" dirty="0">
                <a:solidFill>
                  <a:srgbClr val="000000"/>
                </a:solidFill>
                <a:latin typeface="Arial" charset="0"/>
              </a:rPr>
              <a:t>C</a:t>
            </a: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 according </a:t>
            </a:r>
            <a:r>
              <a:rPr lang="en-GB" altLang="de-DE" sz="1050" dirty="0">
                <a:solidFill>
                  <a:srgbClr val="000000"/>
                </a:solidFill>
                <a:latin typeface="Arial" charset="0"/>
              </a:rPr>
              <a:t>to</a:t>
            </a: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GB" altLang="de-DE" sz="1050" b="1" dirty="0">
                <a:solidFill>
                  <a:srgbClr val="C0504D"/>
                </a:solidFill>
                <a:latin typeface="Arial" charset="0"/>
              </a:rPr>
              <a:t>cover heat budget</a:t>
            </a: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.</a:t>
            </a:r>
          </a:p>
          <a:p>
            <a:pPr marL="214313" indent="-214313" defTabSz="685800">
              <a:spcBef>
                <a:spcPts val="450"/>
              </a:spcBef>
              <a:buFont typeface="Calibri" pitchFamily="34" charset="0"/>
              <a:buChar char="‒"/>
              <a:defRPr/>
            </a:pP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T</a:t>
            </a:r>
            <a:r>
              <a:rPr lang="en-GB" altLang="de-DE" sz="1050" b="1" baseline="-25000" dirty="0">
                <a:solidFill>
                  <a:srgbClr val="000000"/>
                </a:solidFill>
                <a:latin typeface="Arial" charset="0"/>
              </a:rPr>
              <a:t>B</a:t>
            </a: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GB" altLang="de-DE" sz="1050" dirty="0">
                <a:solidFill>
                  <a:srgbClr val="000000"/>
                </a:solidFill>
                <a:latin typeface="Arial" charset="0"/>
              </a:rPr>
              <a:t>from</a:t>
            </a: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GB" altLang="de-DE" sz="1050" b="1" dirty="0">
                <a:solidFill>
                  <a:srgbClr val="C0504D"/>
                </a:solidFill>
                <a:latin typeface="Arial" charset="0"/>
              </a:rPr>
              <a:t>flux equilibrium</a:t>
            </a: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GB" altLang="de-DE" sz="1050" dirty="0">
                <a:solidFill>
                  <a:srgbClr val="000000"/>
                </a:solidFill>
                <a:latin typeface="Arial" charset="0"/>
              </a:rPr>
              <a:t>at </a:t>
            </a: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B.</a:t>
            </a:r>
          </a:p>
          <a:p>
            <a:pPr marL="214313" indent="-214313" defTabSz="685800">
              <a:spcBef>
                <a:spcPts val="450"/>
              </a:spcBef>
              <a:buFont typeface="Calibri" pitchFamily="34" charset="0"/>
              <a:buChar char="‒"/>
              <a:defRPr/>
            </a:pP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T</a:t>
            </a:r>
            <a:r>
              <a:rPr lang="en-GB" altLang="de-DE" sz="1050" b="1" baseline="-25000" dirty="0">
                <a:solidFill>
                  <a:srgbClr val="000000"/>
                </a:solidFill>
                <a:latin typeface="Arial" charset="0"/>
              </a:rPr>
              <a:t>C</a:t>
            </a: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 and T</a:t>
            </a:r>
            <a:r>
              <a:rPr lang="en-GB" altLang="de-DE" sz="1050" b="1" baseline="-25000" dirty="0">
                <a:solidFill>
                  <a:srgbClr val="000000"/>
                </a:solidFill>
                <a:latin typeface="Arial" charset="0"/>
              </a:rPr>
              <a:t>B</a:t>
            </a: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GB" altLang="de-DE" sz="1050" b="1" dirty="0">
                <a:solidFill>
                  <a:srgbClr val="C0504D"/>
                </a:solidFill>
                <a:latin typeface="Arial" charset="0"/>
              </a:rPr>
              <a:t>implicitly coupled </a:t>
            </a:r>
            <a:r>
              <a:rPr lang="en-GB" altLang="de-DE" sz="1050" dirty="0">
                <a:latin typeface="Arial" charset="0"/>
              </a:rPr>
              <a:t>to</a:t>
            </a:r>
            <a:r>
              <a:rPr lang="en-GB" altLang="de-DE" sz="1050" b="1" dirty="0">
                <a:solidFill>
                  <a:srgbClr val="C0504D"/>
                </a:solidFill>
                <a:latin typeface="Arial" charset="0"/>
              </a:rPr>
              <a:t> </a:t>
            </a:r>
            <a:r>
              <a:rPr lang="en-GB" altLang="de-DE" sz="1050" b="1" dirty="0">
                <a:latin typeface="Arial" charset="0"/>
              </a:rPr>
              <a:t>soil-temperatures         .</a:t>
            </a:r>
          </a:p>
        </p:txBody>
      </p:sp>
      <p:sp>
        <p:nvSpPr>
          <p:cNvPr id="58" name="Rectangle 14"/>
          <p:cNvSpPr>
            <a:spLocks noChangeArrowheads="1"/>
          </p:cNvSpPr>
          <p:nvPr/>
        </p:nvSpPr>
        <p:spPr bwMode="auto">
          <a:xfrm>
            <a:off x="5730700" y="2879960"/>
            <a:ext cx="3461583" cy="581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marL="285750" indent="-2857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214313" indent="-214313" defTabSz="685800">
              <a:lnSpc>
                <a:spcPct val="150000"/>
              </a:lnSpc>
              <a:spcBef>
                <a:spcPts val="450"/>
              </a:spcBef>
              <a:buFont typeface="Calibri" pitchFamily="34" charset="0"/>
              <a:buChar char="‒"/>
              <a:defRPr/>
            </a:pPr>
            <a:r>
              <a:rPr lang="en-GB" altLang="de-DE" sz="1050" b="1" dirty="0">
                <a:solidFill>
                  <a:srgbClr val="C0504D"/>
                </a:solidFill>
                <a:latin typeface="Arial" charset="0"/>
              </a:rPr>
              <a:t>Resistances</a:t>
            </a: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         </a:t>
            </a:r>
            <a:r>
              <a:rPr lang="en-GB" altLang="de-DE" sz="1050" dirty="0">
                <a:solidFill>
                  <a:srgbClr val="000000"/>
                </a:solidFill>
                <a:latin typeface="Arial" charset="0"/>
              </a:rPr>
              <a:t>between</a:t>
            </a: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l-GR" altLang="de-DE" sz="1200" b="1" dirty="0">
                <a:solidFill>
                  <a:srgbClr val="000000"/>
                </a:solidFill>
                <a:latin typeface="Sylfaen" panose="010A0502050306030303" pitchFamily="18" charset="0"/>
              </a:rPr>
              <a:t>δ</a:t>
            </a: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-surfaces X </a:t>
            </a:r>
            <a:r>
              <a:rPr lang="en-GB" altLang="de-DE" sz="1050" dirty="0">
                <a:solidFill>
                  <a:srgbClr val="000000"/>
                </a:solidFill>
                <a:latin typeface="Arial" charset="0"/>
              </a:rPr>
              <a:t>and</a:t>
            </a: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 Y </a:t>
            </a:r>
            <a:r>
              <a:rPr lang="en-GB" altLang="de-DE" sz="1050" dirty="0">
                <a:solidFill>
                  <a:srgbClr val="000000"/>
                </a:solidFill>
                <a:latin typeface="Arial" charset="0"/>
              </a:rPr>
              <a:t>from</a:t>
            </a: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GB" altLang="de-DE" sz="1050" b="1" dirty="0">
                <a:solidFill>
                  <a:srgbClr val="C0504D"/>
                </a:solidFill>
                <a:latin typeface="Arial" charset="0"/>
              </a:rPr>
              <a:t>TURBTRAN/TURDIFF</a:t>
            </a:r>
            <a:r>
              <a:rPr lang="en-GB" altLang="de-DE" sz="1050" b="1" dirty="0">
                <a:solidFill>
                  <a:srgbClr val="000000"/>
                </a:solidFill>
                <a:latin typeface="Arial" charset="0"/>
              </a:rPr>
              <a:t>.</a:t>
            </a:r>
          </a:p>
        </p:txBody>
      </p:sp>
      <p:graphicFrame>
        <p:nvGraphicFramePr>
          <p:cNvPr id="59" name="Objekt 58"/>
          <p:cNvGraphicFramePr>
            <a:graphicFrameLocks noChangeAspect="1"/>
          </p:cNvGraphicFramePr>
          <p:nvPr/>
        </p:nvGraphicFramePr>
        <p:xfrm>
          <a:off x="6810820" y="2891509"/>
          <a:ext cx="256094" cy="304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45" imgW="203040" imgH="241200" progId="Equation.DSMT4">
                  <p:embed/>
                </p:oleObj>
              </mc:Choice>
              <mc:Fallback>
                <p:oleObj name="Equation" r:id="rId45" imgW="203040" imgH="241200" progId="Equation.DSMT4">
                  <p:embed/>
                  <p:pic>
                    <p:nvPicPr>
                      <p:cNvPr id="59" name="Objekt 58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6810820" y="2891509"/>
                        <a:ext cx="256094" cy="3041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Rectangle 5"/>
          <p:cNvSpPr>
            <a:spLocks noChangeArrowheads="1"/>
          </p:cNvSpPr>
          <p:nvPr/>
        </p:nvSpPr>
        <p:spPr bwMode="auto">
          <a:xfrm>
            <a:off x="146305" y="4095396"/>
            <a:ext cx="5196953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marL="174625" indent="-174625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de-DE" sz="1050" b="1" dirty="0">
                <a:solidFill>
                  <a:srgbClr val="000000"/>
                </a:solidFill>
                <a:latin typeface="Arial" charset="0"/>
                <a:cs typeface="Arial" charset="0"/>
              </a:rPr>
              <a:t>n</a:t>
            </a:r>
            <a:r>
              <a:rPr lang="en-GB" altLang="de-DE" sz="1050" dirty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en-GB" altLang="de-DE" sz="1050" b="1" dirty="0">
                <a:solidFill>
                  <a:srgbClr val="2D2DB9"/>
                </a:solidFill>
                <a:latin typeface="Arial" charset="0"/>
                <a:cs typeface="Arial" charset="0"/>
              </a:rPr>
              <a:t>cover layers</a:t>
            </a:r>
            <a:r>
              <a:rPr lang="en-GB" altLang="de-DE" sz="1050" dirty="0">
                <a:solidFill>
                  <a:srgbClr val="000000"/>
                </a:solidFill>
                <a:latin typeface="Arial" charset="0"/>
                <a:cs typeface="Arial" charset="0"/>
              </a:rPr>
              <a:t> including the </a:t>
            </a:r>
            <a:r>
              <a:rPr lang="en-GB" altLang="de-DE" sz="1050" b="1" dirty="0">
                <a:solidFill>
                  <a:srgbClr val="640000"/>
                </a:solidFill>
                <a:latin typeface="Arial" charset="0"/>
                <a:cs typeface="Arial" charset="0"/>
              </a:rPr>
              <a:t>surface of the dense soil</a:t>
            </a:r>
            <a:r>
              <a:rPr lang="en-GB" altLang="de-DE" sz="1050" dirty="0">
                <a:solidFill>
                  <a:srgbClr val="000000"/>
                </a:solidFill>
                <a:latin typeface="Arial" charset="0"/>
                <a:cs typeface="Arial" charset="0"/>
              </a:rPr>
              <a:t> (n=0) are connected by </a:t>
            </a:r>
            <a:r>
              <a:rPr lang="en-GB" altLang="de-DE" sz="1050" dirty="0">
                <a:solidFill>
                  <a:srgbClr val="C0504D"/>
                </a:solidFill>
                <a:latin typeface="Arial" charset="0"/>
                <a:cs typeface="Arial" charset="0"/>
              </a:rPr>
              <a:t>long-wave radiation</a:t>
            </a:r>
            <a:r>
              <a:rPr lang="en-GB" altLang="de-DE" sz="1050" dirty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en-GB" altLang="de-DE" sz="1050" dirty="0">
                <a:solidFill>
                  <a:srgbClr val="C0504D"/>
                </a:solidFill>
                <a:latin typeface="Arial" charset="0"/>
                <a:cs typeface="Arial" charset="0"/>
              </a:rPr>
              <a:t>interaction</a:t>
            </a:r>
            <a:r>
              <a:rPr lang="en-GB" altLang="de-DE" sz="1050" dirty="0">
                <a:solidFill>
                  <a:srgbClr val="000000"/>
                </a:solidFill>
                <a:latin typeface="Arial" charset="0"/>
                <a:cs typeface="Arial" charset="0"/>
              </a:rPr>
              <a:t> and </a:t>
            </a:r>
            <a:r>
              <a:rPr lang="en-GB" altLang="de-DE" sz="1050" dirty="0">
                <a:solidFill>
                  <a:srgbClr val="C0504D"/>
                </a:solidFill>
                <a:latin typeface="Arial" charset="0"/>
                <a:cs typeface="Arial" charset="0"/>
              </a:rPr>
              <a:t>atmospheric sensible heat exchange</a:t>
            </a:r>
            <a:r>
              <a:rPr lang="en-GB" altLang="de-DE" sz="1050" dirty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63" name="Rectangle 5"/>
          <p:cNvSpPr>
            <a:spLocks noChangeArrowheads="1"/>
          </p:cNvSpPr>
          <p:nvPr/>
        </p:nvSpPr>
        <p:spPr bwMode="auto">
          <a:xfrm>
            <a:off x="139447" y="4423634"/>
            <a:ext cx="8672099" cy="4154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marL="174625" indent="-174625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de-DE" sz="1050" dirty="0">
                <a:solidFill>
                  <a:srgbClr val="000000"/>
                </a:solidFill>
                <a:latin typeface="Arial" charset="0"/>
                <a:cs typeface="Arial" charset="0"/>
              </a:rPr>
              <a:t>Only </a:t>
            </a:r>
            <a:r>
              <a:rPr lang="en-GB" altLang="de-DE" sz="1050" b="1" dirty="0">
                <a:solidFill>
                  <a:srgbClr val="000000"/>
                </a:solidFill>
                <a:latin typeface="Arial" charset="0"/>
                <a:cs typeface="Arial" charset="0"/>
              </a:rPr>
              <a:t>a part of the inner surfaces is connected to the A</a:t>
            </a:r>
            <a:r>
              <a:rPr lang="en-GB" altLang="de-DE" sz="1050" dirty="0">
                <a:solidFill>
                  <a:srgbClr val="000000"/>
                </a:solidFill>
                <a:latin typeface="Arial" charset="0"/>
                <a:cs typeface="Arial" charset="0"/>
              </a:rPr>
              <a:t>tmosphere by a </a:t>
            </a:r>
            <a:r>
              <a:rPr lang="en-GB" altLang="de-DE" sz="1050" dirty="0">
                <a:solidFill>
                  <a:srgbClr val="C0504D"/>
                </a:solidFill>
                <a:latin typeface="Arial" charset="0"/>
                <a:cs typeface="Arial" charset="0"/>
              </a:rPr>
              <a:t>resistance chain</a:t>
            </a:r>
            <a:r>
              <a:rPr lang="en-GB" altLang="de-DE" sz="1050" dirty="0">
                <a:solidFill>
                  <a:srgbClr val="000000"/>
                </a:solidFill>
                <a:latin typeface="Arial" charset="0"/>
                <a:cs typeface="Arial" charset="0"/>
              </a:rPr>
              <a:t>, the </a:t>
            </a:r>
            <a:r>
              <a:rPr lang="en-GB" altLang="de-DE" sz="1050" b="1" dirty="0">
                <a:solidFill>
                  <a:srgbClr val="000000"/>
                </a:solidFill>
                <a:latin typeface="Arial" charset="0"/>
                <a:cs typeface="Arial" charset="0"/>
              </a:rPr>
              <a:t>other part is for the </a:t>
            </a:r>
            <a:r>
              <a:rPr lang="en-GB" altLang="de-DE" sz="1050" b="1" dirty="0">
                <a:solidFill>
                  <a:srgbClr val="C0504D"/>
                </a:solidFill>
                <a:latin typeface="Arial" charset="0"/>
                <a:cs typeface="Arial" charset="0"/>
              </a:rPr>
              <a:t>inter- surface exchange</a:t>
            </a:r>
          </a:p>
        </p:txBody>
      </p:sp>
      <p:sp>
        <p:nvSpPr>
          <p:cNvPr id="61" name="Text Box 56">
            <a:extLst>
              <a:ext uri="{FF2B5EF4-FFF2-40B4-BE49-F238E27FC236}">
                <a16:creationId xmlns:a16="http://schemas.microsoft.com/office/drawing/2014/main" id="{584DBCDD-ABBA-46AC-A082-F389FE01C7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48799" y="1749449"/>
            <a:ext cx="70207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defTabSz="685800">
              <a:spcBef>
                <a:spcPct val="0"/>
              </a:spcBef>
              <a:buNone/>
              <a:defRPr/>
            </a:pPr>
            <a:r>
              <a:rPr lang="en-US" altLang="de-DE" sz="1200" b="1" u="sng" dirty="0">
                <a:solidFill>
                  <a:schemeClr val="bg1"/>
                </a:solidFill>
                <a:latin typeface="Arial Narrow" panose="020B0606020202030204" pitchFamily="34" charset="0"/>
              </a:rPr>
              <a:t>pending</a:t>
            </a:r>
            <a:endParaRPr lang="en-US" altLang="de-DE" sz="105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2" name="Text Box 7">
            <a:extLst>
              <a:ext uri="{FF2B5EF4-FFF2-40B4-BE49-F238E27FC236}">
                <a16:creationId xmlns:a16="http://schemas.microsoft.com/office/drawing/2014/main" id="{76DA2237-F97F-4012-B574-72EE5B09C6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06466" y="4948238"/>
            <a:ext cx="1016304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defTabSz="685800">
              <a:spcBef>
                <a:spcPct val="50000"/>
              </a:spcBef>
              <a:buNone/>
              <a:defRPr/>
            </a:pPr>
            <a:r>
              <a:rPr lang="en-GB" altLang="de-DE" sz="750" dirty="0">
                <a:solidFill>
                  <a:srgbClr val="000000"/>
                </a:solidFill>
                <a:latin typeface="Arial" panose="020B0604020202020204" pitchFamily="34" charset="0"/>
              </a:rPr>
              <a:t>Matthias Raschendorfer</a:t>
            </a:r>
            <a:endParaRPr lang="en-GB" altLang="de-DE" sz="9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64" name="Line 23">
            <a:extLst>
              <a:ext uri="{FF2B5EF4-FFF2-40B4-BE49-F238E27FC236}">
                <a16:creationId xmlns:a16="http://schemas.microsoft.com/office/drawing/2014/main" id="{E368F08D-C6E0-477C-AD4C-4B718193E8A2}"/>
              </a:ext>
            </a:extLst>
          </p:cNvPr>
          <p:cNvSpPr>
            <a:spLocks noChangeShapeType="1"/>
          </p:cNvSpPr>
          <p:nvPr/>
        </p:nvSpPr>
        <p:spPr bwMode="auto">
          <a:xfrm>
            <a:off x="305526" y="4893468"/>
            <a:ext cx="8838474" cy="1"/>
          </a:xfrm>
          <a:prstGeom prst="line">
            <a:avLst/>
          </a:prstGeom>
          <a:noFill/>
          <a:ln w="15240">
            <a:solidFill>
              <a:srgbClr val="2D4B9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685800">
              <a:defRPr/>
            </a:pPr>
            <a:endParaRPr lang="de-DE" sz="12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5" name="Picture 44" descr="logo">
            <a:extLst>
              <a:ext uri="{FF2B5EF4-FFF2-40B4-BE49-F238E27FC236}">
                <a16:creationId xmlns:a16="http://schemas.microsoft.com/office/drawing/2014/main" id="{B9D4FE61-9EA5-4097-A4BE-2420A785A7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42" y="4915766"/>
            <a:ext cx="737392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28" descr="Bundesadler_kleiner">
            <a:extLst>
              <a:ext uri="{FF2B5EF4-FFF2-40B4-BE49-F238E27FC236}">
                <a16:creationId xmlns:a16="http://schemas.microsoft.com/office/drawing/2014/main" id="{F5E929A3-8EAE-4DFF-A53C-70891A3D31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978" y="4731990"/>
            <a:ext cx="334566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Text Box 13">
            <a:extLst>
              <a:ext uri="{FF2B5EF4-FFF2-40B4-BE49-F238E27FC236}">
                <a16:creationId xmlns:a16="http://schemas.microsoft.com/office/drawing/2014/main" id="{0EDBEE19-A879-4DAF-83F7-07F1FF64CF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94165" y="4948014"/>
            <a:ext cx="2214340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defTabSz="685800">
              <a:spcBef>
                <a:spcPct val="0"/>
              </a:spcBef>
              <a:buNone/>
              <a:defRPr/>
            </a:pPr>
            <a:r>
              <a:rPr lang="en-GB" altLang="de-DE" sz="750" dirty="0">
                <a:solidFill>
                  <a:srgbClr val="000000"/>
                </a:solidFill>
                <a:latin typeface="Arial" panose="020B0604020202020204" pitchFamily="34" charset="0"/>
              </a:rPr>
              <a:t>COSMO-GM WG3ab Offenbach  2024</a:t>
            </a:r>
          </a:p>
        </p:txBody>
      </p:sp>
      <p:graphicFrame>
        <p:nvGraphicFramePr>
          <p:cNvPr id="3" name="Objekt 2"/>
          <p:cNvGraphicFramePr>
            <a:graphicFrameLocks noChangeAspect="1"/>
          </p:cNvGraphicFramePr>
          <p:nvPr/>
        </p:nvGraphicFramePr>
        <p:xfrm>
          <a:off x="7702159" y="2718479"/>
          <a:ext cx="330527" cy="2339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49" imgW="317160" imgH="266400" progId="Equation.DSMT4">
                  <p:embed/>
                </p:oleObj>
              </mc:Choice>
              <mc:Fallback>
                <p:oleObj name="Equation" r:id="rId49" imgW="317160" imgH="266400" progId="Equation.DSMT4">
                  <p:embed/>
                  <p:pic>
                    <p:nvPicPr>
                      <p:cNvPr id="3" name="Objekt 2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7702159" y="2718479"/>
                        <a:ext cx="330527" cy="23399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3">
            <a:extLst>
              <a:ext uri="{FF2B5EF4-FFF2-40B4-BE49-F238E27FC236}">
                <a16:creationId xmlns:a16="http://schemas.microsoft.com/office/drawing/2014/main" id="{DD42DC07-25C9-B090-1937-0B01956631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51951">
            <a:off x="1838446" y="537104"/>
            <a:ext cx="6830866" cy="2853911"/>
          </a:xfrm>
          <a:prstGeom prst="rect">
            <a:avLst/>
          </a:prstGeom>
          <a:noFill/>
          <a:ln w="57150">
            <a:solidFill>
              <a:schemeClr val="accent5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797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74F50DE8-BEB2-B447-9F8C-680957CEB7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8145" y="589722"/>
            <a:ext cx="7506393" cy="4147930"/>
          </a:xfrm>
          <a:ln>
            <a:noFill/>
          </a:ln>
        </p:spPr>
        <p:txBody>
          <a:bodyPr anchor="t"/>
          <a:lstStyle/>
          <a:p>
            <a:pPr algn="ctr">
              <a:lnSpc>
                <a:spcPct val="150000"/>
              </a:lnSpc>
              <a:spcAft>
                <a:spcPts val="1200"/>
              </a:spcAft>
            </a:pPr>
            <a:r>
              <a:rPr lang="en-US" sz="2800" b="1" spc="300" dirty="0"/>
              <a:t>The puzzle</a:t>
            </a:r>
            <a:br>
              <a:rPr lang="en-US" sz="2800" b="1" spc="300" dirty="0"/>
            </a:br>
            <a:r>
              <a:rPr lang="en-US" b="1" i="1" spc="300" dirty="0">
                <a:solidFill>
                  <a:schemeClr val="tx1"/>
                </a:solidFill>
              </a:rPr>
              <a:t>	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8818FA2-5D2B-7A14-7F6B-F927D89681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7" t="-513" r="-117" b="-513"/>
          <a:stretch>
            <a:fillRect/>
          </a:stretch>
        </p:blipFill>
        <p:spPr bwMode="auto">
          <a:xfrm>
            <a:off x="55501" y="41702"/>
            <a:ext cx="1511300" cy="3556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</p:pic>
      <p:pic>
        <p:nvPicPr>
          <p:cNvPr id="4" name="Picture 3" descr="A yellow puzzle piece completing a black puzzle">
            <a:extLst>
              <a:ext uri="{FF2B5EF4-FFF2-40B4-BE49-F238E27FC236}">
                <a16:creationId xmlns:a16="http://schemas.microsoft.com/office/drawing/2014/main" id="{6580119A-F0B5-2EAA-F330-60727992B8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82282">
            <a:off x="4449093" y="2059643"/>
            <a:ext cx="2921191" cy="1947461"/>
          </a:xfrm>
          <a:prstGeom prst="rect">
            <a:avLst/>
          </a:prstGeom>
        </p:spPr>
      </p:pic>
      <p:pic>
        <p:nvPicPr>
          <p:cNvPr id="7" name="Picture 6" descr="Person building a puzzle">
            <a:extLst>
              <a:ext uri="{FF2B5EF4-FFF2-40B4-BE49-F238E27FC236}">
                <a16:creationId xmlns:a16="http://schemas.microsoft.com/office/drawing/2014/main" id="{BD7CB01C-345A-3105-C670-54AACD77AC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65948">
            <a:off x="681325" y="2035323"/>
            <a:ext cx="3725423" cy="248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0113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1AB5F3-8E74-2E48-B0E8-B134B92CA2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040" y="185710"/>
            <a:ext cx="7602393" cy="708082"/>
          </a:xfrm>
        </p:spPr>
        <p:txBody>
          <a:bodyPr/>
          <a:lstStyle/>
          <a:p>
            <a:pPr algn="ctr"/>
            <a:r>
              <a:rPr lang="en-US" spc="600" dirty="0">
                <a:solidFill>
                  <a:srgbClr val="FF0000"/>
                </a:solidFill>
              </a:rPr>
              <a:t>The puzzle</a:t>
            </a:r>
            <a:endParaRPr lang="en-US" sz="1800" spc="600" dirty="0">
              <a:solidFill>
                <a:srgbClr val="FF0000"/>
              </a:solidFill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A4D60B32-7F33-E544-B4B0-F0BD9F081D9A}"/>
              </a:ext>
            </a:extLst>
          </p:cNvPr>
          <p:cNvSpPr txBox="1">
            <a:spLocks/>
          </p:cNvSpPr>
          <p:nvPr/>
        </p:nvSpPr>
        <p:spPr>
          <a:xfrm>
            <a:off x="348797" y="1046191"/>
            <a:ext cx="8645322" cy="3660305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21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B2B2B2"/>
              </a:buClr>
              <a:buChar char="•"/>
              <a:defRPr sz="21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0C0C0"/>
              </a:buClr>
              <a:buChar char="•"/>
              <a:defRPr sz="21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DDDDD"/>
              </a:buClr>
              <a:buChar char="•"/>
              <a:defRPr sz="21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DDDDD"/>
              </a:buClr>
              <a:buChar char="•"/>
              <a:defRPr sz="21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DDDDD"/>
              </a:buClr>
              <a:buChar char="•"/>
              <a:defRPr sz="21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DDDDD"/>
              </a:buClr>
              <a:buChar char="•"/>
              <a:defRPr sz="21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DDDDD"/>
              </a:buClr>
              <a:buChar char="•"/>
              <a:defRPr sz="2100">
                <a:solidFill>
                  <a:schemeClr val="tx1"/>
                </a:solidFill>
                <a:latin typeface="+mn-lt"/>
              </a:defRPr>
            </a:lvl9pPr>
          </a:lstStyle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itchFamily="2" charset="2"/>
              <a:buChar char=""/>
            </a:pPr>
            <a:r>
              <a:rPr lang="en-US" sz="1400" dirty="0"/>
              <a:t>(ICON master) CITTA’ and new external parameters for land use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itchFamily="2" charset="2"/>
              <a:buChar char=""/>
            </a:pPr>
            <a:r>
              <a:rPr lang="en-US" sz="1400" dirty="0"/>
              <a:t>(ICON private) NIX and modularized TERRA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itchFamily="2" charset="2"/>
              <a:buChar char=""/>
            </a:pPr>
            <a:r>
              <a:rPr lang="en-US" sz="1400" dirty="0"/>
              <a:t>(ICON private) NIX and </a:t>
            </a:r>
            <a:r>
              <a:rPr lang="en-US" sz="1400" dirty="0" err="1"/>
              <a:t>ConSAT</a:t>
            </a:r>
            <a:r>
              <a:rPr lang="en-US" sz="1400" dirty="0"/>
              <a:t> treatment of the heat equation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itchFamily="2" charset="2"/>
              <a:buChar char=""/>
            </a:pPr>
            <a:r>
              <a:rPr lang="en-US" sz="1400" dirty="0"/>
              <a:t>(ICON private) NIX and dynamical snow tile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itchFamily="2" charset="2"/>
              <a:buChar char=""/>
            </a:pPr>
            <a:r>
              <a:rPr lang="en-US" sz="1400" dirty="0"/>
              <a:t>(ICON private and COSMO) </a:t>
            </a:r>
            <a:r>
              <a:rPr lang="en-US" sz="1400" dirty="0" err="1"/>
              <a:t>ConSAT</a:t>
            </a:r>
            <a:r>
              <a:rPr lang="en-US" sz="1400" dirty="0"/>
              <a:t> and modularized TERRA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itchFamily="2" charset="2"/>
              <a:buChar char=""/>
            </a:pPr>
            <a:r>
              <a:rPr lang="en-US" sz="1400" dirty="0"/>
              <a:t>(ICON private and COSMO) Piecewise transfer of </a:t>
            </a:r>
            <a:r>
              <a:rPr lang="en-US" sz="1400" dirty="0" err="1"/>
              <a:t>ConSAT</a:t>
            </a:r>
            <a:r>
              <a:rPr lang="en-US" sz="1400" dirty="0"/>
              <a:t> developments into ICON master 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itchFamily="2" charset="2"/>
              <a:buChar char=""/>
            </a:pPr>
            <a:r>
              <a:rPr lang="en-US" sz="1400" dirty="0"/>
              <a:t>…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itchFamily="2" charset="2"/>
              <a:buChar char=""/>
            </a:pPr>
            <a:endParaRPr lang="en-CH" sz="1400" dirty="0"/>
          </a:p>
        </p:txBody>
      </p:sp>
      <p:sp>
        <p:nvSpPr>
          <p:cNvPr id="6" name="Rechteck 24">
            <a:extLst>
              <a:ext uri="{FF2B5EF4-FFF2-40B4-BE49-F238E27FC236}">
                <a16:creationId xmlns:a16="http://schemas.microsoft.com/office/drawing/2014/main" id="{E39ABBEA-3B50-4345-8EA2-D41BA525AC82}"/>
              </a:ext>
            </a:extLst>
          </p:cNvPr>
          <p:cNvSpPr/>
          <p:nvPr/>
        </p:nvSpPr>
        <p:spPr>
          <a:xfrm>
            <a:off x="223860" y="4766960"/>
            <a:ext cx="849325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800" i="1" noProof="0" dirty="0" err="1">
                <a:solidFill>
                  <a:schemeClr val="bg1">
                    <a:lumMod val="50000"/>
                  </a:schemeClr>
                </a:solidFill>
                <a:latin typeface="Roboto Light"/>
                <a:cs typeface="Roboto Light"/>
              </a:rPr>
              <a:t>jean-marie.bettems@meteoswiss.ch</a:t>
            </a:r>
            <a:r>
              <a:rPr lang="en-GB" sz="800" i="1" noProof="0" dirty="0">
                <a:solidFill>
                  <a:schemeClr val="bg1">
                    <a:lumMod val="50000"/>
                  </a:schemeClr>
                </a:solidFill>
                <a:latin typeface="Roboto Light"/>
                <a:cs typeface="Roboto Light"/>
              </a:rPr>
              <a:t>,   COSMO GM 2024,  Offenbach						</a:t>
            </a:r>
            <a:r>
              <a:rPr lang="en-GB" sz="800" noProof="0" dirty="0">
                <a:solidFill>
                  <a:schemeClr val="bg1">
                    <a:lumMod val="50000"/>
                  </a:schemeClr>
                </a:solidFill>
                <a:latin typeface="Roboto Light"/>
                <a:cs typeface="Roboto Light"/>
              </a:rPr>
              <a:t> 	                      </a:t>
            </a:r>
            <a:fld id="{1EE35605-8AB3-442C-A293-9F31FDF185BC}" type="slidenum">
              <a:rPr lang="en-GB" sz="800" noProof="0" smtClean="0">
                <a:solidFill>
                  <a:schemeClr val="bg1">
                    <a:lumMod val="50000"/>
                  </a:schemeClr>
                </a:solidFill>
                <a:latin typeface="Roboto Light"/>
                <a:cs typeface="Roboto Light"/>
              </a:rPr>
              <a:pPr algn="l"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t>18</a:t>
            </a:fld>
            <a:endParaRPr lang="en-GB" sz="800" i="1" noProof="0" dirty="0">
              <a:solidFill>
                <a:schemeClr val="bg1">
                  <a:lumMod val="50000"/>
                </a:schemeClr>
              </a:solidFill>
              <a:latin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95360764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74F50DE8-BEB2-B447-9F8C-680957CEB7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8145" y="589722"/>
            <a:ext cx="7506393" cy="4147930"/>
          </a:xfrm>
          <a:ln>
            <a:noFill/>
          </a:ln>
        </p:spPr>
        <p:txBody>
          <a:bodyPr anchor="ctr"/>
          <a:lstStyle/>
          <a:p>
            <a:pPr algn="ctr">
              <a:lnSpc>
                <a:spcPct val="150000"/>
              </a:lnSpc>
              <a:spcAft>
                <a:spcPts val="1200"/>
              </a:spcAft>
            </a:pPr>
            <a:r>
              <a:rPr lang="en-US" sz="2800" b="1" spc="300" dirty="0"/>
              <a:t>NIX</a:t>
            </a:r>
            <a:br>
              <a:rPr lang="en-US" sz="2800" b="1" spc="300" dirty="0"/>
            </a:br>
            <a:r>
              <a:rPr lang="en-US" sz="2800" b="1" spc="300" dirty="0"/>
              <a:t>CITTA’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US" b="1" i="1" spc="300" dirty="0">
                <a:solidFill>
                  <a:schemeClr val="tx1"/>
                </a:solidFill>
              </a:rPr>
              <a:t>	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8818FA2-5D2B-7A14-7F6B-F927D89681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7" t="-513" r="-117" b="-513"/>
          <a:stretch>
            <a:fillRect/>
          </a:stretch>
        </p:blipFill>
        <p:spPr bwMode="auto">
          <a:xfrm>
            <a:off x="55501" y="41702"/>
            <a:ext cx="1511300" cy="3556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320503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74F50DE8-BEB2-B447-9F8C-680957CEB7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8145" y="589722"/>
            <a:ext cx="7506393" cy="4147930"/>
          </a:xfrm>
          <a:ln>
            <a:noFill/>
          </a:ln>
        </p:spPr>
        <p:txBody>
          <a:bodyPr anchor="ctr"/>
          <a:lstStyle/>
          <a:p>
            <a:pPr algn="ctr">
              <a:lnSpc>
                <a:spcPct val="150000"/>
              </a:lnSpc>
              <a:spcAft>
                <a:spcPts val="1200"/>
              </a:spcAft>
            </a:pPr>
            <a:r>
              <a:rPr lang="en-US" sz="2800" b="1" spc="300" dirty="0"/>
              <a:t>TERRA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US" b="1" i="1" spc="300" dirty="0">
                <a:solidFill>
                  <a:schemeClr val="tx1"/>
                </a:solidFill>
              </a:rPr>
              <a:t>	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8818FA2-5D2B-7A14-7F6B-F927D89681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7" t="-513" r="-117" b="-513"/>
          <a:stretch>
            <a:fillRect/>
          </a:stretch>
        </p:blipFill>
        <p:spPr bwMode="auto">
          <a:xfrm>
            <a:off x="55501" y="41702"/>
            <a:ext cx="1511300" cy="3556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977226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8276E9-9910-4EEF-BB62-A7BFAAA0B4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97428"/>
            <a:ext cx="8353425" cy="332399"/>
          </a:xfrm>
        </p:spPr>
        <p:txBody>
          <a:bodyPr/>
          <a:lstStyle/>
          <a:p>
            <a:r>
              <a:rPr lang="de-DE" sz="2400" b="1" dirty="0">
                <a:solidFill>
                  <a:srgbClr val="0070C0"/>
                </a:solidFill>
              </a:rPr>
              <a:t>TERRA </a:t>
            </a:r>
            <a:r>
              <a:rPr lang="de-DE" sz="2400" b="1" dirty="0" err="1">
                <a:solidFill>
                  <a:srgbClr val="0070C0"/>
                </a:solidFill>
              </a:rPr>
              <a:t>developments</a:t>
            </a:r>
            <a:endParaRPr lang="de-DE" sz="2400" b="1" dirty="0">
              <a:solidFill>
                <a:srgbClr val="0070C0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012627F-C4F4-488B-8C17-ACD2F7E7A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7" y="967566"/>
            <a:ext cx="8353426" cy="3147219"/>
          </a:xfrm>
        </p:spPr>
        <p:txBody>
          <a:bodyPr/>
          <a:lstStyle/>
          <a:p>
            <a:r>
              <a:rPr lang="de-DE" dirty="0"/>
              <a:t>Fixe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water</a:t>
            </a:r>
            <a:r>
              <a:rPr lang="de-DE" dirty="0"/>
              <a:t> </a:t>
            </a:r>
            <a:r>
              <a:rPr lang="de-DE" dirty="0" err="1"/>
              <a:t>balance</a:t>
            </a:r>
            <a:r>
              <a:rPr lang="de-DE" dirty="0"/>
              <a:t> (Roland Wirth, Martin Köhler)</a:t>
            </a:r>
          </a:p>
          <a:p>
            <a:pPr lvl="1"/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Coupled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runs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Atmosphere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– TERRA – HD – OCEAN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conserve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mass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well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br>
              <a:rPr lang="de-DE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new </a:t>
            </a:r>
            <a:r>
              <a:rPr lang="en-US" dirty="0" err="1">
                <a:solidFill>
                  <a:schemeClr val="bg1">
                    <a:lumMod val="50000"/>
                  </a:schemeClr>
                </a:solidFill>
              </a:rPr>
              <a:t>buildbot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test for water conservation (1e-11)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,  2.5 cm/10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years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C2A57B6-CDF3-4B1F-B1E1-8A6C0B8EDA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D4B9B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4-0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8435ECE-C8F4-4DBA-8F0C-0D9F87DD3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D4B9B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MO-G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2D4B9B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8405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feld 31">
            <a:extLst>
              <a:ext uri="{FF2B5EF4-FFF2-40B4-BE49-F238E27FC236}">
                <a16:creationId xmlns:a16="http://schemas.microsoft.com/office/drawing/2014/main" id="{12EF22AA-D6DA-4264-9DA2-E49E1BB574EB}"/>
              </a:ext>
            </a:extLst>
          </p:cNvPr>
          <p:cNvSpPr txBox="1"/>
          <p:nvPr/>
        </p:nvSpPr>
        <p:spPr>
          <a:xfrm>
            <a:off x="457201" y="4894201"/>
            <a:ext cx="4309991" cy="25853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l" defTabSz="8229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8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Small </a:t>
            </a:r>
            <a:r>
              <a:rPr kumimoji="0" lang="de-DE" sz="108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remaining</a:t>
            </a:r>
            <a:r>
              <a:rPr kumimoji="0" lang="de-DE" sz="108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</a:t>
            </a:r>
            <a:r>
              <a:rPr kumimoji="0" lang="de-DE" sz="108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water</a:t>
            </a:r>
            <a:r>
              <a:rPr kumimoji="0" lang="de-DE" sz="108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</a:t>
            </a:r>
            <a:r>
              <a:rPr kumimoji="0" lang="de-DE" sz="108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conservation</a:t>
            </a:r>
            <a:r>
              <a:rPr kumimoji="0" lang="de-DE" sz="108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</a:t>
            </a:r>
            <a:r>
              <a:rPr kumimoji="0" lang="de-DE" sz="108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inconsistency</a:t>
            </a:r>
            <a:r>
              <a:rPr kumimoji="0" lang="de-DE" sz="108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in TERRA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26594F3B-5248-4F49-A2CD-6025867634E6}"/>
              </a:ext>
            </a:extLst>
          </p:cNvPr>
          <p:cNvSpPr txBox="1"/>
          <p:nvPr/>
        </p:nvSpPr>
        <p:spPr>
          <a:xfrm>
            <a:off x="493137" y="1408691"/>
            <a:ext cx="912429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229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6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with</a:t>
            </a:r>
            <a:r>
              <a:rPr kumimoji="0" lang="de-DE" sz="126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</a:t>
            </a:r>
          </a:p>
          <a:p>
            <a:pPr marL="0" marR="0" lvl="0" indent="0" algn="l" defTabSz="8229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6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HD-model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6592A9DD-05EA-4FB3-8FD3-89915FF2F4F5}"/>
              </a:ext>
            </a:extLst>
          </p:cNvPr>
          <p:cNvSpPr txBox="1"/>
          <p:nvPr/>
        </p:nvSpPr>
        <p:spPr>
          <a:xfrm>
            <a:off x="493136" y="3393297"/>
            <a:ext cx="912429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229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6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without</a:t>
            </a:r>
            <a:r>
              <a:rPr kumimoji="0" lang="de-DE" sz="126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</a:t>
            </a:r>
          </a:p>
          <a:p>
            <a:pPr marL="0" marR="0" lvl="0" indent="0" algn="l" defTabSz="8229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6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HD-mod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6885FB-EB81-CCC7-9864-AACF4A1B8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740" y="87474"/>
            <a:ext cx="7887768" cy="421556"/>
          </a:xfrm>
        </p:spPr>
        <p:txBody>
          <a:bodyPr/>
          <a:lstStyle/>
          <a:p>
            <a:r>
              <a:rPr lang="fr-CH" sz="2000" b="1" dirty="0" err="1">
                <a:solidFill>
                  <a:srgbClr val="0070C0"/>
                </a:solidFill>
              </a:rPr>
              <a:t>Hydrological</a:t>
            </a:r>
            <a:r>
              <a:rPr lang="fr-CH" sz="2000" b="1" dirty="0">
                <a:solidFill>
                  <a:srgbClr val="0070C0"/>
                </a:solidFill>
              </a:rPr>
              <a:t> </a:t>
            </a:r>
            <a:r>
              <a:rPr lang="fr-CH" sz="2000" b="1" dirty="0" err="1">
                <a:solidFill>
                  <a:srgbClr val="0070C0"/>
                </a:solidFill>
              </a:rPr>
              <a:t>discharge</a:t>
            </a:r>
            <a:r>
              <a:rPr lang="fr-CH" sz="2000" b="1" dirty="0">
                <a:solidFill>
                  <a:srgbClr val="0070C0"/>
                </a:solidFill>
              </a:rPr>
              <a:t> (HD), i</a:t>
            </a:r>
            <a:r>
              <a:rPr lang="en-DE" sz="2000" b="1">
                <a:solidFill>
                  <a:srgbClr val="0070C0"/>
                </a:solidFill>
              </a:rPr>
              <a:t>mpact </a:t>
            </a:r>
            <a:r>
              <a:rPr lang="en-DE" sz="2000" b="1" dirty="0">
                <a:solidFill>
                  <a:srgbClr val="0070C0"/>
                </a:solidFill>
              </a:rPr>
              <a:t>on </a:t>
            </a:r>
            <a:r>
              <a:rPr lang="en-DE" sz="2000" b="1">
                <a:solidFill>
                  <a:srgbClr val="0070C0"/>
                </a:solidFill>
              </a:rPr>
              <a:t>sea surface</a:t>
            </a:r>
            <a:endParaRPr lang="en-DE" sz="2000" b="1" dirty="0">
              <a:solidFill>
                <a:srgbClr val="0070C0"/>
              </a:solidFill>
            </a:endParaRPr>
          </a:p>
        </p:txBody>
      </p:sp>
      <p:pic>
        <p:nvPicPr>
          <p:cNvPr id="15" name="Picture 14" descr="A map of the world&#10;&#10;Description automatically generated">
            <a:extLst>
              <a:ext uri="{FF2B5EF4-FFF2-40B4-BE49-F238E27FC236}">
                <a16:creationId xmlns:a16="http://schemas.microsoft.com/office/drawing/2014/main" id="{CB2B3E0C-ABE8-0388-0BE7-F097FFBA970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103" y="824837"/>
            <a:ext cx="3442856" cy="1843084"/>
          </a:xfrm>
          <a:prstGeom prst="rect">
            <a:avLst/>
          </a:prstGeom>
        </p:spPr>
      </p:pic>
      <p:pic>
        <p:nvPicPr>
          <p:cNvPr id="17" name="Picture 16" descr="A graph with a line&#10;&#10;Description automatically generated">
            <a:extLst>
              <a:ext uri="{FF2B5EF4-FFF2-40B4-BE49-F238E27FC236}">
                <a16:creationId xmlns:a16="http://schemas.microsoft.com/office/drawing/2014/main" id="{2E78BC52-2855-A327-FE3E-5D1E751789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930" y="819387"/>
            <a:ext cx="3205627" cy="1843084"/>
          </a:xfrm>
          <a:prstGeom prst="rect">
            <a:avLst/>
          </a:prstGeom>
        </p:spPr>
      </p:pic>
      <p:pic>
        <p:nvPicPr>
          <p:cNvPr id="19" name="Picture 18" descr="A map of the world&#10;&#10;Description automatically generated">
            <a:extLst>
              <a:ext uri="{FF2B5EF4-FFF2-40B4-BE49-F238E27FC236}">
                <a16:creationId xmlns:a16="http://schemas.microsoft.com/office/drawing/2014/main" id="{30FBDA85-B323-3CF2-773F-F99634A805F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103" y="2803939"/>
            <a:ext cx="3442856" cy="1843084"/>
          </a:xfrm>
          <a:prstGeom prst="rect">
            <a:avLst/>
          </a:prstGeom>
        </p:spPr>
      </p:pic>
      <p:pic>
        <p:nvPicPr>
          <p:cNvPr id="22" name="Picture 21" descr="A graph with a line&#10;&#10;Description automatically generated">
            <a:extLst>
              <a:ext uri="{FF2B5EF4-FFF2-40B4-BE49-F238E27FC236}">
                <a16:creationId xmlns:a16="http://schemas.microsoft.com/office/drawing/2014/main" id="{E1C34F5B-38BD-A01B-C736-28FA4A80F65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9479" y="2794923"/>
            <a:ext cx="3205627" cy="1843084"/>
          </a:xfrm>
          <a:prstGeom prst="rect">
            <a:avLst/>
          </a:prstGeom>
        </p:spPr>
      </p:pic>
      <p:sp>
        <p:nvSpPr>
          <p:cNvPr id="35" name="Textfeld 31">
            <a:extLst>
              <a:ext uri="{FF2B5EF4-FFF2-40B4-BE49-F238E27FC236}">
                <a16:creationId xmlns:a16="http://schemas.microsoft.com/office/drawing/2014/main" id="{F3F3F43B-6082-571C-E0FA-3EF377C8641D}"/>
              </a:ext>
            </a:extLst>
          </p:cNvPr>
          <p:cNvSpPr txBox="1"/>
          <p:nvPr/>
        </p:nvSpPr>
        <p:spPr>
          <a:xfrm>
            <a:off x="3640948" y="958242"/>
            <a:ext cx="800251" cy="23083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l" defTabSz="8229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- 2.5cm/10y</a:t>
            </a:r>
          </a:p>
        </p:txBody>
      </p:sp>
      <p:sp>
        <p:nvSpPr>
          <p:cNvPr id="37" name="Textfeld 31">
            <a:extLst>
              <a:ext uri="{FF2B5EF4-FFF2-40B4-BE49-F238E27FC236}">
                <a16:creationId xmlns:a16="http://schemas.microsoft.com/office/drawing/2014/main" id="{1AB6AC73-D378-A03F-695D-C374E5DEDA27}"/>
              </a:ext>
            </a:extLst>
          </p:cNvPr>
          <p:cNvSpPr txBox="1"/>
          <p:nvPr/>
        </p:nvSpPr>
        <p:spPr>
          <a:xfrm>
            <a:off x="3653409" y="3029035"/>
            <a:ext cx="800251" cy="23083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l" defTabSz="82296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- 1.1m/10y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CA874B4-7170-4DB5-89E9-8AA71C718A42}"/>
              </a:ext>
            </a:extLst>
          </p:cNvPr>
          <p:cNvSpPr txBox="1"/>
          <p:nvPr/>
        </p:nvSpPr>
        <p:spPr>
          <a:xfrm>
            <a:off x="7140903" y="4764320"/>
            <a:ext cx="1485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1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tin Köhler</a:t>
            </a:r>
          </a:p>
        </p:txBody>
      </p:sp>
    </p:spTree>
    <p:extLst>
      <p:ext uri="{BB962C8B-B14F-4D97-AF65-F5344CB8AC3E}">
        <p14:creationId xmlns:p14="http://schemas.microsoft.com/office/powerpoint/2010/main" val="27774202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98276E9-9910-4EEF-BB62-A7BFAAA0B4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97428"/>
            <a:ext cx="8353425" cy="332399"/>
          </a:xfrm>
        </p:spPr>
        <p:txBody>
          <a:bodyPr/>
          <a:lstStyle/>
          <a:p>
            <a:r>
              <a:rPr lang="de-DE" sz="2400" b="1" dirty="0">
                <a:solidFill>
                  <a:srgbClr val="0070C0"/>
                </a:solidFill>
              </a:rPr>
              <a:t>TERRA </a:t>
            </a:r>
            <a:r>
              <a:rPr lang="de-DE" sz="2400" b="1" dirty="0" err="1">
                <a:solidFill>
                  <a:srgbClr val="0070C0"/>
                </a:solidFill>
              </a:rPr>
              <a:t>developments</a:t>
            </a:r>
            <a:endParaRPr lang="de-DE" sz="2400" b="1" dirty="0">
              <a:solidFill>
                <a:srgbClr val="0070C0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012627F-C4F4-488B-8C17-ACD2F7E7AD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7" y="967566"/>
            <a:ext cx="8353426" cy="3147219"/>
          </a:xfrm>
        </p:spPr>
        <p:txBody>
          <a:bodyPr/>
          <a:lstStyle/>
          <a:p>
            <a:r>
              <a:rPr lang="de-DE" dirty="0" err="1"/>
              <a:t>Inclus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HiHydroSoil</a:t>
            </a:r>
            <a:r>
              <a:rPr lang="de-DE" dirty="0"/>
              <a:t> v2.0 (Jürgen Helmert)</a:t>
            </a:r>
            <a:br>
              <a:rPr lang="de-DE" dirty="0"/>
            </a:br>
            <a:r>
              <a:rPr lang="de-DE" dirty="0"/>
              <a:t>(</a:t>
            </a:r>
            <a:r>
              <a:rPr lang="de-DE" i="1" dirty="0"/>
              <a:t>global</a:t>
            </a:r>
            <a:r>
              <a:rPr lang="de-DE" dirty="0"/>
              <a:t> </a:t>
            </a:r>
            <a:r>
              <a:rPr lang="de-DE" dirty="0" err="1"/>
              <a:t>map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b="1" i="1" dirty="0" err="1"/>
              <a:t>soil</a:t>
            </a:r>
            <a:r>
              <a:rPr lang="de-DE" b="1" i="1" dirty="0"/>
              <a:t> </a:t>
            </a:r>
            <a:r>
              <a:rPr lang="de-DE" b="1" i="1" dirty="0" err="1"/>
              <a:t>hydraulic</a:t>
            </a:r>
            <a:r>
              <a:rPr lang="de-DE" b="1" i="1" dirty="0"/>
              <a:t> </a:t>
            </a:r>
            <a:r>
              <a:rPr lang="de-DE" b="1" i="1" dirty="0" err="1"/>
              <a:t>properties</a:t>
            </a:r>
            <a:r>
              <a:rPr lang="de-DE" b="1" i="1" dirty="0"/>
              <a:t> </a:t>
            </a:r>
            <a:r>
              <a:rPr lang="de-DE" dirty="0"/>
              <a:t>at </a:t>
            </a:r>
            <a:r>
              <a:rPr lang="de-DE" i="1" dirty="0"/>
              <a:t>250m </a:t>
            </a:r>
            <a:r>
              <a:rPr lang="de-DE" i="1" dirty="0" err="1"/>
              <a:t>resolution</a:t>
            </a:r>
            <a:r>
              <a:rPr lang="de-DE" b="1" i="1" dirty="0"/>
              <a:t>)</a:t>
            </a:r>
            <a:endParaRPr lang="de-DE" dirty="0"/>
          </a:p>
          <a:p>
            <a:pPr lvl="1"/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Modifications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to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TERRA</a:t>
            </a:r>
          </a:p>
          <a:p>
            <a:pPr lvl="1"/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Processing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of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data</a:t>
            </a:r>
            <a:r>
              <a:rPr lang="de-DE" dirty="0">
                <a:solidFill>
                  <a:schemeClr val="bg1">
                    <a:lumMod val="50000"/>
                  </a:schemeClr>
                </a:solidFill>
              </a:rPr>
              <a:t> in </a:t>
            </a:r>
            <a:r>
              <a:rPr lang="de-DE" dirty="0" err="1">
                <a:solidFill>
                  <a:schemeClr val="bg1">
                    <a:lumMod val="50000"/>
                  </a:schemeClr>
                </a:solidFill>
              </a:rPr>
              <a:t>Extpar</a:t>
            </a:r>
            <a:endParaRPr lang="de-DE" dirty="0">
              <a:solidFill>
                <a:schemeClr val="bg1">
                  <a:lumMod val="50000"/>
                </a:schemeClr>
              </a:solidFill>
            </a:endParaRPr>
          </a:p>
          <a:p>
            <a:pPr lvl="1"/>
            <a:r>
              <a:rPr lang="de-DE" dirty="0"/>
              <a:t>See </a:t>
            </a:r>
            <a:r>
              <a:rPr lang="de-DE" dirty="0">
                <a:hlinkClick r:id="rId2"/>
              </a:rPr>
              <a:t>https://www.futurewater.eu/projects/hihydrosoil/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C2A57B6-CDF3-4B1F-B1E1-8A6C0B8EDA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D4B9B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4-0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8435ECE-C8F4-4DBA-8F0C-0D9F87DD34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D4B9B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MO-G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2D4B9B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37040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66998F-8E24-447E-92AD-DC0C3D28C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7" y="209417"/>
            <a:ext cx="8353425" cy="332399"/>
          </a:xfrm>
        </p:spPr>
        <p:txBody>
          <a:bodyPr/>
          <a:lstStyle/>
          <a:p>
            <a:r>
              <a:rPr lang="de-DE" sz="2400" b="1" dirty="0">
                <a:solidFill>
                  <a:srgbClr val="0070C0"/>
                </a:solidFill>
              </a:rPr>
              <a:t>TERRA </a:t>
            </a:r>
            <a:r>
              <a:rPr lang="de-DE" sz="2400" b="1" dirty="0" err="1">
                <a:solidFill>
                  <a:srgbClr val="0070C0"/>
                </a:solidFill>
              </a:rPr>
              <a:t>modularization</a:t>
            </a:r>
            <a:endParaRPr lang="de-DE" sz="2400" b="1" dirty="0">
              <a:solidFill>
                <a:srgbClr val="0070C0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891F485-54D4-4952-992A-614480315E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7" y="976112"/>
            <a:ext cx="8353426" cy="3147219"/>
          </a:xfrm>
        </p:spPr>
        <p:txBody>
          <a:bodyPr/>
          <a:lstStyle/>
          <a:p>
            <a:r>
              <a:rPr lang="de-DE" dirty="0" err="1"/>
              <a:t>Merge</a:t>
            </a:r>
            <a:r>
              <a:rPr lang="de-DE" dirty="0"/>
              <a:t> </a:t>
            </a:r>
            <a:r>
              <a:rPr lang="de-DE" dirty="0" err="1"/>
              <a:t>request</a:t>
            </a:r>
            <a:r>
              <a:rPr lang="de-DE" dirty="0"/>
              <a:t> in </a:t>
            </a:r>
            <a:r>
              <a:rPr lang="de-DE" dirty="0" err="1"/>
              <a:t>progress</a:t>
            </a:r>
            <a:r>
              <a:rPr lang="de-DE" dirty="0"/>
              <a:t> (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buildbot</a:t>
            </a:r>
            <a:r>
              <a:rPr lang="de-DE" dirty="0"/>
              <a:t> </a:t>
            </a:r>
            <a:r>
              <a:rPr lang="de-DE" dirty="0" err="1"/>
              <a:t>tests</a:t>
            </a:r>
            <a:r>
              <a:rPr lang="de-DE" dirty="0"/>
              <a:t> still </a:t>
            </a:r>
            <a:r>
              <a:rPr lang="de-DE" dirty="0" err="1"/>
              <a:t>failing</a:t>
            </a:r>
            <a:r>
              <a:rPr lang="de-DE" dirty="0"/>
              <a:t>)</a:t>
            </a:r>
          </a:p>
          <a:p>
            <a:pPr marL="0" indent="0" defTabSz="444500">
              <a:buNone/>
            </a:pPr>
            <a:r>
              <a:rPr lang="de-DE" dirty="0"/>
              <a:t>	</a:t>
            </a:r>
            <a:r>
              <a:rPr lang="de-DE" dirty="0">
                <a:hlinkClick r:id="rId2"/>
              </a:rPr>
              <a:t>https://gitlab.dkrz.de/icon/icon-nwp/-/merge_requests/1487</a:t>
            </a:r>
            <a:endParaRPr lang="de-DE" dirty="0"/>
          </a:p>
          <a:p>
            <a:r>
              <a:rPr lang="de-DE" dirty="0"/>
              <a:t>Code </a:t>
            </a:r>
            <a:r>
              <a:rPr lang="de-DE" dirty="0" err="1"/>
              <a:t>restructuring</a:t>
            </a:r>
            <a:r>
              <a:rPr lang="de-DE" dirty="0"/>
              <a:t>, „</a:t>
            </a:r>
            <a:r>
              <a:rPr lang="de-DE" dirty="0" err="1"/>
              <a:t>identical</a:t>
            </a:r>
            <a:r>
              <a:rPr lang="de-DE" dirty="0"/>
              <a:t>“ </a:t>
            </a:r>
            <a:r>
              <a:rPr lang="de-DE" dirty="0" err="1"/>
              <a:t>results</a:t>
            </a:r>
            <a:r>
              <a:rPr lang="de-DE" dirty="0"/>
              <a:t>, 5-10% </a:t>
            </a:r>
            <a:r>
              <a:rPr lang="de-DE" dirty="0" err="1"/>
              <a:t>faster</a:t>
            </a:r>
            <a:r>
              <a:rPr lang="de-DE" dirty="0"/>
              <a:t> </a:t>
            </a:r>
          </a:p>
          <a:p>
            <a:r>
              <a:rPr lang="de-DE" i="1" dirty="0" err="1">
                <a:solidFill>
                  <a:srgbClr val="FF0000"/>
                </a:solidFill>
              </a:rPr>
              <a:t>Which</a:t>
            </a:r>
            <a:r>
              <a:rPr lang="de-DE" i="1" dirty="0">
                <a:solidFill>
                  <a:srgbClr val="FF0000"/>
                </a:solidFill>
              </a:rPr>
              <a:t> </a:t>
            </a:r>
            <a:r>
              <a:rPr lang="de-DE" i="1" dirty="0" err="1">
                <a:solidFill>
                  <a:srgbClr val="FF0000"/>
                </a:solidFill>
              </a:rPr>
              <a:t>further</a:t>
            </a:r>
            <a:r>
              <a:rPr lang="de-DE" i="1" dirty="0">
                <a:solidFill>
                  <a:srgbClr val="FF0000"/>
                </a:solidFill>
              </a:rPr>
              <a:t> TERRA </a:t>
            </a:r>
            <a:r>
              <a:rPr lang="de-DE" i="1" dirty="0" err="1">
                <a:solidFill>
                  <a:srgbClr val="FF0000"/>
                </a:solidFill>
              </a:rPr>
              <a:t>developments</a:t>
            </a:r>
            <a:r>
              <a:rPr lang="de-DE" i="1" dirty="0">
                <a:solidFill>
                  <a:srgbClr val="FF0000"/>
                </a:solidFill>
              </a:rPr>
              <a:t> </a:t>
            </a:r>
            <a:r>
              <a:rPr lang="de-DE" i="1" dirty="0" err="1">
                <a:solidFill>
                  <a:srgbClr val="FF0000"/>
                </a:solidFill>
              </a:rPr>
              <a:t>that</a:t>
            </a:r>
            <a:r>
              <a:rPr lang="de-DE" i="1" dirty="0">
                <a:solidFill>
                  <a:srgbClr val="FF0000"/>
                </a:solidFill>
              </a:rPr>
              <a:t> </a:t>
            </a:r>
            <a:r>
              <a:rPr lang="de-DE" i="1" dirty="0" err="1">
                <a:solidFill>
                  <a:srgbClr val="FF0000"/>
                </a:solidFill>
              </a:rPr>
              <a:t>are</a:t>
            </a:r>
            <a:r>
              <a:rPr lang="de-DE" i="1" dirty="0">
                <a:solidFill>
                  <a:srgbClr val="FF0000"/>
                </a:solidFill>
              </a:rPr>
              <a:t> in </a:t>
            </a:r>
            <a:r>
              <a:rPr lang="de-DE" i="1" dirty="0" err="1">
                <a:solidFill>
                  <a:srgbClr val="FF0000"/>
                </a:solidFill>
              </a:rPr>
              <a:t>progress</a:t>
            </a:r>
            <a:r>
              <a:rPr lang="de-DE" i="1" dirty="0">
                <a:solidFill>
                  <a:srgbClr val="FF0000"/>
                </a:solidFill>
              </a:rPr>
              <a:t> must </a:t>
            </a:r>
            <a:r>
              <a:rPr lang="de-DE" i="1" dirty="0" err="1">
                <a:solidFill>
                  <a:srgbClr val="FF0000"/>
                </a:solidFill>
              </a:rPr>
              <a:t>be</a:t>
            </a:r>
            <a:r>
              <a:rPr lang="de-DE" i="1" dirty="0">
                <a:solidFill>
                  <a:srgbClr val="FF0000"/>
                </a:solidFill>
              </a:rPr>
              <a:t> </a:t>
            </a:r>
            <a:r>
              <a:rPr lang="de-DE" i="1" dirty="0" err="1">
                <a:solidFill>
                  <a:srgbClr val="FF0000"/>
                </a:solidFill>
              </a:rPr>
              <a:t>migrated</a:t>
            </a:r>
            <a:r>
              <a:rPr lang="de-DE" i="1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D6D49A3-4F22-4557-97BC-3F4F8DBAF4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D4B9B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4-0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E3CD4AD-2FEC-4AA1-92AD-09B0F348E1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D4B9B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MO-G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2D4B9B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E825D43-B727-4B19-97EC-158DBACA359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80613"/>
            <a:ext cx="9144000" cy="4260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16948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34D40DD-72A7-4033-92FD-A6C146E2E7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29561"/>
            <a:ext cx="8353425" cy="387798"/>
          </a:xfrm>
        </p:spPr>
        <p:txBody>
          <a:bodyPr/>
          <a:lstStyle/>
          <a:p>
            <a:r>
              <a:rPr lang="de-DE" sz="2800" b="1" dirty="0">
                <a:solidFill>
                  <a:srgbClr val="0070C0"/>
                </a:solidFill>
              </a:rPr>
              <a:t>Surface </a:t>
            </a:r>
            <a:r>
              <a:rPr lang="de-DE" sz="2800" b="1" dirty="0" err="1">
                <a:solidFill>
                  <a:srgbClr val="0070C0"/>
                </a:solidFill>
              </a:rPr>
              <a:t>analysis</a:t>
            </a:r>
            <a:r>
              <a:rPr lang="de-DE" sz="2800" b="1" dirty="0">
                <a:solidFill>
                  <a:srgbClr val="0070C0"/>
                </a:solidFill>
              </a:rPr>
              <a:t>, </a:t>
            </a:r>
            <a:r>
              <a:rPr lang="de-DE" sz="2800" b="1" dirty="0" err="1">
                <a:solidFill>
                  <a:srgbClr val="0070C0"/>
                </a:solidFill>
              </a:rPr>
              <a:t>developments</a:t>
            </a:r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F1A2E956-078A-4195-AC61-012A8F77DC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New Surface </a:t>
            </a:r>
            <a:r>
              <a:rPr lang="de-DE" dirty="0" err="1"/>
              <a:t>analysis</a:t>
            </a:r>
            <a:endParaRPr lang="de-DE" dirty="0"/>
          </a:p>
          <a:p>
            <a:pPr lvl="1"/>
            <a:r>
              <a:rPr lang="de-DE" b="1" i="1" dirty="0"/>
              <a:t>Snow</a:t>
            </a:r>
            <a:r>
              <a:rPr lang="de-DE" dirty="0"/>
              <a:t> – </a:t>
            </a:r>
            <a:r>
              <a:rPr lang="de-DE" dirty="0" err="1"/>
              <a:t>test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running</a:t>
            </a:r>
            <a:endParaRPr lang="de-DE" dirty="0"/>
          </a:p>
          <a:p>
            <a:pPr lvl="1"/>
            <a:r>
              <a:rPr lang="de-DE" b="1" i="1" dirty="0"/>
              <a:t>SST</a:t>
            </a:r>
            <a:r>
              <a:rPr lang="de-DE" dirty="0"/>
              <a:t> – </a:t>
            </a:r>
            <a:r>
              <a:rPr lang="de-DE" dirty="0" err="1"/>
              <a:t>work</a:t>
            </a:r>
            <a:r>
              <a:rPr lang="de-DE" dirty="0"/>
              <a:t> in </a:t>
            </a:r>
            <a:r>
              <a:rPr lang="de-DE" dirty="0" err="1"/>
              <a:t>progress</a:t>
            </a:r>
            <a:endParaRPr lang="de-DE" dirty="0"/>
          </a:p>
          <a:p>
            <a:pPr lvl="1"/>
            <a:r>
              <a:rPr lang="de-DE" b="1" i="1" dirty="0"/>
              <a:t>T</a:t>
            </a:r>
            <a:r>
              <a:rPr lang="de-DE" b="1" i="1" baseline="-25000" dirty="0"/>
              <a:t>2m</a:t>
            </a:r>
            <a:r>
              <a:rPr lang="de-DE" baseline="-25000" dirty="0"/>
              <a:t> </a:t>
            </a:r>
            <a:r>
              <a:rPr lang="de-DE" dirty="0"/>
              <a:t>– </a:t>
            </a:r>
            <a:r>
              <a:rPr lang="de-DE" dirty="0" err="1"/>
              <a:t>work</a:t>
            </a:r>
            <a:r>
              <a:rPr lang="de-DE" dirty="0"/>
              <a:t> in </a:t>
            </a:r>
            <a:r>
              <a:rPr lang="de-DE" dirty="0" err="1"/>
              <a:t>progress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ADF7F20-26C7-466D-A460-4F34C82A2F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D4B9B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4-09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2D4B9B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A22D46-A9D4-469F-BAB6-64501AC39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2D4B9B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MO-GM</a:t>
            </a:r>
          </a:p>
        </p:txBody>
      </p:sp>
    </p:spTree>
    <p:extLst>
      <p:ext uri="{BB962C8B-B14F-4D97-AF65-F5344CB8AC3E}">
        <p14:creationId xmlns:p14="http://schemas.microsoft.com/office/powerpoint/2010/main" val="26564791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74F50DE8-BEB2-B447-9F8C-680957CEB7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8145" y="589722"/>
            <a:ext cx="7506393" cy="4147930"/>
          </a:xfrm>
          <a:ln>
            <a:noFill/>
          </a:ln>
        </p:spPr>
        <p:txBody>
          <a:bodyPr anchor="ctr"/>
          <a:lstStyle/>
          <a:p>
            <a:pPr algn="ctr">
              <a:lnSpc>
                <a:spcPct val="150000"/>
              </a:lnSpc>
              <a:spcAft>
                <a:spcPts val="1200"/>
              </a:spcAft>
            </a:pPr>
            <a:r>
              <a:rPr lang="en-US" sz="2800" b="1" spc="300" dirty="0"/>
              <a:t>ICON-LAND</a:t>
            </a:r>
          </a:p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en-US" b="1" i="1" spc="300" dirty="0">
                <a:solidFill>
                  <a:schemeClr val="tx1"/>
                </a:solidFill>
              </a:rPr>
              <a:t>	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8818FA2-5D2B-7A14-7F6B-F927D89681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7" t="-513" r="-117" b="-513"/>
          <a:stretch>
            <a:fillRect/>
          </a:stretch>
        </p:blipFill>
        <p:spPr bwMode="auto">
          <a:xfrm>
            <a:off x="55501" y="41702"/>
            <a:ext cx="1511300" cy="355600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784340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C2D392-3FB4-4451-9A7E-9651A93B72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7" y="266963"/>
            <a:ext cx="8353425" cy="360099"/>
          </a:xfrm>
        </p:spPr>
        <p:txBody>
          <a:bodyPr/>
          <a:lstStyle/>
          <a:p>
            <a:r>
              <a:rPr lang="de-DE" b="1" dirty="0">
                <a:solidFill>
                  <a:srgbClr val="0070C0"/>
                </a:solidFill>
              </a:rPr>
              <a:t>ICON-LAND (ICON-XPP </a:t>
            </a:r>
            <a:r>
              <a:rPr lang="de-DE" b="1" dirty="0" err="1">
                <a:solidFill>
                  <a:srgbClr val="0070C0"/>
                </a:solidFill>
              </a:rPr>
              <a:t>configuration</a:t>
            </a:r>
            <a:r>
              <a:rPr lang="de-DE" b="1" dirty="0">
                <a:solidFill>
                  <a:srgbClr val="0070C0"/>
                </a:solidFill>
              </a:rPr>
              <a:t>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ABCB0F-D068-45AC-99B7-4EC8DF2B1F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287" y="1061570"/>
            <a:ext cx="8353426" cy="3147219"/>
          </a:xfrm>
        </p:spPr>
        <p:txBody>
          <a:bodyPr/>
          <a:lstStyle/>
          <a:p>
            <a:r>
              <a:rPr lang="de-DE" dirty="0" err="1"/>
              <a:t>Coupl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b="1" i="1" dirty="0"/>
              <a:t>HD </a:t>
            </a:r>
            <a:r>
              <a:rPr lang="de-DE" b="1" i="1" dirty="0" err="1"/>
              <a:t>model</a:t>
            </a:r>
            <a:r>
              <a:rPr lang="de-DE" b="1" i="1" dirty="0"/>
              <a:t> </a:t>
            </a:r>
            <a:r>
              <a:rPr lang="de-DE" dirty="0"/>
              <a:t>via YAC </a:t>
            </a:r>
            <a:r>
              <a:rPr lang="de-DE" dirty="0" err="1"/>
              <a:t>completed</a:t>
            </a:r>
            <a:r>
              <a:rPr lang="de-DE" dirty="0"/>
              <a:t> (</a:t>
            </a:r>
            <a:r>
              <a:rPr lang="de-DE" dirty="0" err="1"/>
              <a:t>Trang</a:t>
            </a:r>
            <a:r>
              <a:rPr lang="de-DE" dirty="0"/>
              <a:t> v. Pham, Roland Wirth)</a:t>
            </a:r>
          </a:p>
          <a:p>
            <a:r>
              <a:rPr lang="de-DE" b="1" i="1" dirty="0"/>
              <a:t>Tuning</a:t>
            </a:r>
          </a:p>
          <a:p>
            <a:r>
              <a:rPr lang="de-DE" dirty="0"/>
              <a:t>Work on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mx</a:t>
            </a:r>
            <a:r>
              <a:rPr lang="de-DE" dirty="0"/>
              <a:t> (</a:t>
            </a:r>
            <a:r>
              <a:rPr lang="de-DE" b="1" i="1" dirty="0"/>
              <a:t>turbulent </a:t>
            </a:r>
            <a:r>
              <a:rPr lang="de-DE" b="1" i="1" dirty="0" err="1"/>
              <a:t>diffusion</a:t>
            </a:r>
            <a:r>
              <a:rPr lang="de-DE" b="1" i="1" dirty="0"/>
              <a:t> – </a:t>
            </a:r>
            <a:r>
              <a:rPr lang="de-DE" b="1" i="1" dirty="0" err="1"/>
              <a:t>land</a:t>
            </a:r>
            <a:r>
              <a:rPr lang="de-DE" b="1" i="1" dirty="0"/>
              <a:t> </a:t>
            </a:r>
            <a:r>
              <a:rPr lang="de-DE" b="1" i="1" dirty="0" err="1"/>
              <a:t>coupling</a:t>
            </a:r>
            <a:r>
              <a:rPr lang="de-DE" b="1" i="1" dirty="0"/>
              <a:t> </a:t>
            </a:r>
            <a:r>
              <a:rPr lang="de-DE" b="1" i="1" dirty="0" err="1"/>
              <a:t>infrastructure</a:t>
            </a:r>
            <a:r>
              <a:rPr lang="de-DE" dirty="0"/>
              <a:t>)</a:t>
            </a:r>
            <a:br>
              <a:rPr lang="de-DE" dirty="0"/>
            </a:br>
            <a:r>
              <a:rPr lang="de-DE" dirty="0"/>
              <a:t>in </a:t>
            </a:r>
            <a:r>
              <a:rPr lang="de-DE" dirty="0" err="1"/>
              <a:t>progress</a:t>
            </a:r>
            <a:r>
              <a:rPr lang="de-DE" dirty="0"/>
              <a:t> (Moritz Waldmann, </a:t>
            </a:r>
            <a:r>
              <a:rPr lang="de-DE" dirty="0" err="1"/>
              <a:t>WarmWorld</a:t>
            </a:r>
            <a:r>
              <a:rPr lang="de-DE" dirty="0"/>
              <a:t>)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541980F-D874-4D34-8024-E7A935A878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D4B9B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4-09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47B74C4-F19D-42EE-BFED-F76737ABB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2D4B9B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MO-G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2D4B9B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97063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heme/theme1.xml><?xml version="1.0" encoding="utf-8"?>
<a:theme xmlns:a="http://schemas.openxmlformats.org/drawingml/2006/main" name="1_Kreuzraster komplett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7D6E5F"/>
      </a:lt2>
      <a:accent1>
        <a:srgbClr val="FF0000"/>
      </a:accent1>
      <a:accent2>
        <a:srgbClr val="7D6E5F"/>
      </a:accent2>
      <a:accent3>
        <a:srgbClr val="5A735F"/>
      </a:accent3>
      <a:accent4>
        <a:srgbClr val="000000"/>
      </a:accent4>
      <a:accent5>
        <a:srgbClr val="DAEDEF"/>
      </a:accent5>
      <a:accent6>
        <a:srgbClr val="FAB45F"/>
      </a:accent6>
      <a:hlink>
        <a:srgbClr val="000000"/>
      </a:hlink>
      <a:folHlink>
        <a:srgbClr val="000000"/>
      </a:folHlink>
    </a:clrScheme>
    <a:fontScheme name="GSED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SEDI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EDI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EDI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EDI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EDI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EDI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EDI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EDI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EDI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EDI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EDI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EDI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DWD - Master Aufzählung Punkte">
  <a:themeElements>
    <a:clrScheme name="Benutzerdefinier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2D4B9B"/>
      </a:accent1>
      <a:accent2>
        <a:srgbClr val="96B9DC"/>
      </a:accent2>
      <a:accent3>
        <a:srgbClr val="FFFFFF"/>
      </a:accent3>
      <a:accent4>
        <a:srgbClr val="000000"/>
      </a:accent4>
      <a:accent5>
        <a:srgbClr val="ADB1CB"/>
      </a:accent5>
      <a:accent6>
        <a:srgbClr val="87A7C7"/>
      </a:accent6>
      <a:hlink>
        <a:srgbClr val="2E41CC"/>
      </a:hlink>
      <a:folHlink>
        <a:srgbClr val="E10019"/>
      </a:folHlink>
    </a:clrScheme>
    <a:fontScheme name="1_DWD - Master Aufzählung Punk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WD - Master Aufzählung Punk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WD - Master Aufzählung Punk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WD - Master Aufzählung Punk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WD - Master Aufzählung Punk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WD - Master Aufzählung Punk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WD - Master Aufzählung Punk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WD - Master Aufzählung Punk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WD - Master Aufzählung Punk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WD - Master Aufzählung Punk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WD - Master Aufzählung Punk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WD - Master Aufzählung Punk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WD - Master Aufzählung Punk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WD - Master Aufzählung Punkte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1017A8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ABD1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WD - Master Aufzählung Punkte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1017A8"/>
        </a:accent1>
        <a:accent2>
          <a:srgbClr val="575DC2"/>
        </a:accent2>
        <a:accent3>
          <a:srgbClr val="FFFFFF"/>
        </a:accent3>
        <a:accent4>
          <a:srgbClr val="000000"/>
        </a:accent4>
        <a:accent5>
          <a:srgbClr val="AAABD1"/>
        </a:accent5>
        <a:accent6>
          <a:srgbClr val="4E53B0"/>
        </a:accent6>
        <a:hlink>
          <a:srgbClr val="9FA3DC"/>
        </a:hlink>
        <a:folHlink>
          <a:srgbClr val="DBDDF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WD - Master Aufzählung Punkte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2D4B9B"/>
        </a:accent1>
        <a:accent2>
          <a:srgbClr val="6278B4"/>
        </a:accent2>
        <a:accent3>
          <a:srgbClr val="FFFFFF"/>
        </a:accent3>
        <a:accent4>
          <a:srgbClr val="000000"/>
        </a:accent4>
        <a:accent5>
          <a:srgbClr val="ADB1CB"/>
        </a:accent5>
        <a:accent6>
          <a:srgbClr val="586CA3"/>
        </a:accent6>
        <a:hlink>
          <a:srgbClr val="96A5CD"/>
        </a:hlink>
        <a:folHlink>
          <a:srgbClr val="CBD3E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WD - Master Aufzählung Punkte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2D4B9B"/>
        </a:accent1>
        <a:accent2>
          <a:srgbClr val="96B9DC"/>
        </a:accent2>
        <a:accent3>
          <a:srgbClr val="FFFFFF"/>
        </a:accent3>
        <a:accent4>
          <a:srgbClr val="000000"/>
        </a:accent4>
        <a:accent5>
          <a:srgbClr val="ADB1CB"/>
        </a:accent5>
        <a:accent6>
          <a:srgbClr val="87A7C7"/>
        </a:accent6>
        <a:hlink>
          <a:srgbClr val="D2E1F5"/>
        </a:hlink>
        <a:folHlink>
          <a:srgbClr val="E100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DWD - Master Aufzählung Punkte">
  <a:themeElements>
    <a:clrScheme name="Benutzerdefinier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2D4B9B"/>
      </a:accent1>
      <a:accent2>
        <a:srgbClr val="96B9DC"/>
      </a:accent2>
      <a:accent3>
        <a:srgbClr val="FFFFFF"/>
      </a:accent3>
      <a:accent4>
        <a:srgbClr val="000000"/>
      </a:accent4>
      <a:accent5>
        <a:srgbClr val="ADB1CB"/>
      </a:accent5>
      <a:accent6>
        <a:srgbClr val="87A7C7"/>
      </a:accent6>
      <a:hlink>
        <a:srgbClr val="2E41CC"/>
      </a:hlink>
      <a:folHlink>
        <a:srgbClr val="E10019"/>
      </a:folHlink>
    </a:clrScheme>
    <a:fontScheme name="1_DWD - Master Aufzählung Punk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WD - Master Aufzählung Punk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WD - Master Aufzählung Punk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WD - Master Aufzählung Punk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WD - Master Aufzählung Punk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WD - Master Aufzählung Punk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WD - Master Aufzählung Punk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WD - Master Aufzählung Punk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WD - Master Aufzählung Punk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WD - Master Aufzählung Punk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WD - Master Aufzählung Punk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WD - Master Aufzählung Punk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WD - Master Aufzählung Punk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WD - Master Aufzählung Punkte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1017A8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AAABD1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WD - Master Aufzählung Punkte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1017A8"/>
        </a:accent1>
        <a:accent2>
          <a:srgbClr val="575DC2"/>
        </a:accent2>
        <a:accent3>
          <a:srgbClr val="FFFFFF"/>
        </a:accent3>
        <a:accent4>
          <a:srgbClr val="000000"/>
        </a:accent4>
        <a:accent5>
          <a:srgbClr val="AAABD1"/>
        </a:accent5>
        <a:accent6>
          <a:srgbClr val="4E53B0"/>
        </a:accent6>
        <a:hlink>
          <a:srgbClr val="9FA3DC"/>
        </a:hlink>
        <a:folHlink>
          <a:srgbClr val="DBDDF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WD - Master Aufzählung Punkte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2D4B9B"/>
        </a:accent1>
        <a:accent2>
          <a:srgbClr val="6278B4"/>
        </a:accent2>
        <a:accent3>
          <a:srgbClr val="FFFFFF"/>
        </a:accent3>
        <a:accent4>
          <a:srgbClr val="000000"/>
        </a:accent4>
        <a:accent5>
          <a:srgbClr val="ADB1CB"/>
        </a:accent5>
        <a:accent6>
          <a:srgbClr val="586CA3"/>
        </a:accent6>
        <a:hlink>
          <a:srgbClr val="96A5CD"/>
        </a:hlink>
        <a:folHlink>
          <a:srgbClr val="CBD3E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WD - Master Aufzählung Punkte 1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2D4B9B"/>
        </a:accent1>
        <a:accent2>
          <a:srgbClr val="96B9DC"/>
        </a:accent2>
        <a:accent3>
          <a:srgbClr val="FFFFFF"/>
        </a:accent3>
        <a:accent4>
          <a:srgbClr val="000000"/>
        </a:accent4>
        <a:accent5>
          <a:srgbClr val="ADB1CB"/>
        </a:accent5>
        <a:accent6>
          <a:srgbClr val="87A7C7"/>
        </a:accent6>
        <a:hlink>
          <a:srgbClr val="D2E1F5"/>
        </a:hlink>
        <a:folHlink>
          <a:srgbClr val="E1001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Kreuzraster komplett">
  <a:themeElements>
    <a:clrScheme name="Benutzerdefiniert 1">
      <a:dk1>
        <a:srgbClr val="000000"/>
      </a:dk1>
      <a:lt1>
        <a:srgbClr val="FFFFFF"/>
      </a:lt1>
      <a:dk2>
        <a:srgbClr val="000000"/>
      </a:dk2>
      <a:lt2>
        <a:srgbClr val="7D6E5F"/>
      </a:lt2>
      <a:accent1>
        <a:srgbClr val="FF0000"/>
      </a:accent1>
      <a:accent2>
        <a:srgbClr val="7D6E5F"/>
      </a:accent2>
      <a:accent3>
        <a:srgbClr val="5A735F"/>
      </a:accent3>
      <a:accent4>
        <a:srgbClr val="000000"/>
      </a:accent4>
      <a:accent5>
        <a:srgbClr val="DAEDEF"/>
      </a:accent5>
      <a:accent6>
        <a:srgbClr val="FAB45F"/>
      </a:accent6>
      <a:hlink>
        <a:srgbClr val="000000"/>
      </a:hlink>
      <a:folHlink>
        <a:srgbClr val="000000"/>
      </a:folHlink>
    </a:clrScheme>
    <a:fontScheme name="GSED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CH" sz="21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SEDI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EDI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EDI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EDI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EDI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SEDI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EDI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EDI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EDI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EDI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EDI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SEDI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_Format_16-9.pptx" id="{14B80262-283B-4455-926B-736EE80994B7}" vid="{03C32CFB-F977-44A6-8C51-B08D66399866}"/>
    </a:ext>
  </a:extLst>
</a:theme>
</file>

<file path=ppt/theme/theme5.xml><?xml version="1.0" encoding="utf-8"?>
<a:theme xmlns:a="http://schemas.openxmlformats.org/drawingml/2006/main" name="1_turbgust_200710_jps">
  <a:themeElements>
    <a:clrScheme name="turbgust_200710_jp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turbgust_200710_jps">
      <a:majorFont>
        <a:latin typeface="Times New Roman"/>
        <a:ea typeface="ＭＳ Ｐゴシック"/>
        <a:cs typeface=""/>
      </a:majorFont>
      <a:minorFont>
        <a:latin typeface="Times New Roman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charset="0"/>
            <a:ea typeface="ＭＳ Ｐゴシック" charset="0"/>
          </a:defRPr>
        </a:defPPr>
      </a:lstStyle>
    </a:lnDef>
  </a:objectDefaults>
  <a:extraClrSchemeLst>
    <a:extraClrScheme>
      <a:clrScheme name="turbgust_200710_jp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urbgust_200710_jp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urbgust_200710_jp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urbgust_200710_jp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urbgust_200710_jp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urbgust_200710_jp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urbgust_200710_jp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DWD-PowerPoint">
  <a:themeElements>
    <a:clrScheme name="DWD-Farben PowerPoint">
      <a:dk1>
        <a:srgbClr val="2D4B9B"/>
      </a:dk1>
      <a:lt1>
        <a:sysClr val="window" lastClr="FFFFFF"/>
      </a:lt1>
      <a:dk2>
        <a:srgbClr val="96B9DC"/>
      </a:dk2>
      <a:lt2>
        <a:srgbClr val="D2E1F5"/>
      </a:lt2>
      <a:accent1>
        <a:srgbClr val="2D4B9B"/>
      </a:accent1>
      <a:accent2>
        <a:srgbClr val="9E3D00"/>
      </a:accent2>
      <a:accent3>
        <a:srgbClr val="945100"/>
      </a:accent3>
      <a:accent4>
        <a:srgbClr val="DE8004"/>
      </a:accent4>
      <a:accent5>
        <a:srgbClr val="608E00"/>
      </a:accent5>
      <a:accent6>
        <a:srgbClr val="2F6100"/>
      </a:accent6>
      <a:hlink>
        <a:srgbClr val="2D4B9B"/>
      </a:hlink>
      <a:folHlink>
        <a:srgbClr val="2D4B9B"/>
      </a:folHlink>
    </a:clrScheme>
    <a:fontScheme name="DWD-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711EB1397DA214C991D0114E1C6705F" ma:contentTypeVersion="1" ma:contentTypeDescription="Ein neues Dokument erstellen." ma:contentTypeScope="" ma:versionID="4f497952251489acb7320a0ddcdc69ee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5e9f62132f8a72b8ccdf838efe357e29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Geplantes Startdatum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Geplantes Enddatum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 ma:readOnly="tru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38F031FF-B88D-427D-A541-B3BADEC17DB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DEE9CD66-01A1-48D3-A44D-6CE49655947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470CE0D-FADF-4C0F-90CA-E3B937E9A86B}">
  <ds:schemaRefs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elements/1.1/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_Format_16-9</Template>
  <TotalTime>1589</TotalTime>
  <Words>1152</Words>
  <Application>Microsoft Macintosh PowerPoint</Application>
  <PresentationFormat>On-screen Show (16:9)</PresentationFormat>
  <Paragraphs>141</Paragraphs>
  <Slides>1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9</vt:i4>
      </vt:variant>
    </vt:vector>
  </HeadingPairs>
  <TitlesOfParts>
    <vt:vector size="41" baseType="lpstr">
      <vt:lpstr>Arabic Typesetting</vt:lpstr>
      <vt:lpstr>Arial</vt:lpstr>
      <vt:lpstr>Arial Black</vt:lpstr>
      <vt:lpstr>Arial Narrow</vt:lpstr>
      <vt:lpstr>Calibri</vt:lpstr>
      <vt:lpstr>Courier New</vt:lpstr>
      <vt:lpstr>Roboto Light</vt:lpstr>
      <vt:lpstr>Sylfaen</vt:lpstr>
      <vt:lpstr>Symbol</vt:lpstr>
      <vt:lpstr>Times</vt:lpstr>
      <vt:lpstr>Times New Roman</vt:lpstr>
      <vt:lpstr>Wingdings</vt:lpstr>
      <vt:lpstr>1_Kreuzraster komplett</vt:lpstr>
      <vt:lpstr>1_DWD - Master Aufzählung Punkte</vt:lpstr>
      <vt:lpstr>2_DWD - Master Aufzählung Punkte</vt:lpstr>
      <vt:lpstr>2_Kreuzraster komplett</vt:lpstr>
      <vt:lpstr>1_turbgust_200710_jps</vt:lpstr>
      <vt:lpstr>DWD-PowerPoint</vt:lpstr>
      <vt:lpstr>1_Office Theme</vt:lpstr>
      <vt:lpstr>think-cell Folie</vt:lpstr>
      <vt:lpstr>Formel</vt:lpstr>
      <vt:lpstr>Equation</vt:lpstr>
      <vt:lpstr>PowerPoint Presentation</vt:lpstr>
      <vt:lpstr>PowerPoint Presentation</vt:lpstr>
      <vt:lpstr>TERRA developments</vt:lpstr>
      <vt:lpstr>Hydrological discharge (HD), impact on sea surface</vt:lpstr>
      <vt:lpstr>TERRA developments</vt:lpstr>
      <vt:lpstr>TERRA modularization</vt:lpstr>
      <vt:lpstr>Surface analysis, developments</vt:lpstr>
      <vt:lpstr>PowerPoint Presentation</vt:lpstr>
      <vt:lpstr>ICON-LAND (ICON-XPP configuration)</vt:lpstr>
      <vt:lpstr>ICON-LAND (ICON-XPP configuration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puzzle</vt:lpstr>
      <vt:lpstr>PowerPoint Presentation</vt:lpstr>
    </vt:vector>
  </TitlesOfParts>
  <Company>MeteoSwis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T SAINT –  Status &amp; Future plans</dc:title>
  <dc:creator>Bellaire Sascha</dc:creator>
  <cp:lastModifiedBy>Jean-Marie Bettems</cp:lastModifiedBy>
  <cp:revision>423</cp:revision>
  <cp:lastPrinted>2016-02-16T15:38:09Z</cp:lastPrinted>
  <dcterms:created xsi:type="dcterms:W3CDTF">2020-01-16T08:19:36Z</dcterms:created>
  <dcterms:modified xsi:type="dcterms:W3CDTF">2024-09-05T07:02:03Z</dcterms:modified>
</cp:coreProperties>
</file>